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4.xml" ContentType="application/vnd.openxmlformats-officedocument.theme+xml"/>
  <Override PartName="/ppt/tags/tag10.xml" ContentType="application/vnd.openxmlformats-officedocument.presentationml.tags+xml"/>
  <Override PartName="/ppt/theme/theme5.xml" ContentType="application/vnd.openxmlformats-officedocument.theme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7" r:id="rId2"/>
    <p:sldMasterId id="2147483677" r:id="rId3"/>
    <p:sldMasterId id="2147483687" r:id="rId4"/>
  </p:sldMasterIdLst>
  <p:notesMasterIdLst>
    <p:notesMasterId r:id="rId29"/>
  </p:notesMasterIdLst>
  <p:sldIdLst>
    <p:sldId id="273" r:id="rId5"/>
    <p:sldId id="258" r:id="rId6"/>
    <p:sldId id="331" r:id="rId7"/>
    <p:sldId id="350" r:id="rId8"/>
    <p:sldId id="334" r:id="rId9"/>
    <p:sldId id="348" r:id="rId10"/>
    <p:sldId id="336" r:id="rId11"/>
    <p:sldId id="337" r:id="rId12"/>
    <p:sldId id="309" r:id="rId13"/>
    <p:sldId id="338" r:id="rId14"/>
    <p:sldId id="310" r:id="rId15"/>
    <p:sldId id="340" r:id="rId16"/>
    <p:sldId id="330" r:id="rId17"/>
    <p:sldId id="349" r:id="rId18"/>
    <p:sldId id="298" r:id="rId19"/>
    <p:sldId id="347" r:id="rId20"/>
    <p:sldId id="319" r:id="rId21"/>
    <p:sldId id="341" r:id="rId22"/>
    <p:sldId id="343" r:id="rId23"/>
    <p:sldId id="344" r:id="rId24"/>
    <p:sldId id="351" r:id="rId25"/>
    <p:sldId id="342" r:id="rId26"/>
    <p:sldId id="287" r:id="rId27"/>
    <p:sldId id="286" r:id="rId28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Estilo claro 2 - Acento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940675A-B579-460E-94D1-54222C63F5DA}" styleName="Sin estilo, cuadrícula de la tab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875" autoAdjust="0"/>
    <p:restoredTop sz="95226" autoAdjust="0"/>
  </p:normalViewPr>
  <p:slideViewPr>
    <p:cSldViewPr>
      <p:cViewPr varScale="1">
        <p:scale>
          <a:sx n="82" d="100"/>
          <a:sy n="82" d="100"/>
        </p:scale>
        <p:origin x="1738" y="5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presProps" Target="presProps.xml"/><Relationship Id="rId8" Type="http://schemas.openxmlformats.org/officeDocument/2006/relationships/slide" Target="slides/slide4.xm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0C587E-D380-4F97-BEA9-06851DDE65E8}" type="datetimeFigureOut">
              <a:rPr lang="en-US" smtClean="0"/>
              <a:t>6/28/2019</a:t>
            </a:fld>
            <a:endParaRPr lang="en-US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B64DBE-7402-488B-B662-60A15DD400A8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91843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CE2601-95AE-4257-9668-B4375FD1C93E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75702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L" dirty="0"/>
              <a:t>Ask:  Who </a:t>
            </a:r>
            <a:r>
              <a:rPr lang="es-CL" dirty="0" err="1"/>
              <a:t>watched</a:t>
            </a:r>
            <a:r>
              <a:rPr lang="es-CL" dirty="0"/>
              <a:t> </a:t>
            </a:r>
            <a:r>
              <a:rPr lang="es-CL" dirty="0" err="1"/>
              <a:t>this</a:t>
            </a:r>
            <a:r>
              <a:rPr lang="es-CL" dirty="0"/>
              <a:t> </a:t>
            </a:r>
            <a:r>
              <a:rPr lang="es-CL" dirty="0" err="1"/>
              <a:t>week</a:t>
            </a:r>
            <a:r>
              <a:rPr lang="es-CL" dirty="0"/>
              <a:t> videos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CE2601-95AE-4257-9668-B4375FD1C93E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35868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jpeg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516" name="Rectangle 9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3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/>
          <p:cNvGrpSpPr/>
          <p:nvPr/>
        </p:nvGrpSpPr>
        <p:grpSpPr>
          <a:xfrm>
            <a:off x="2741470" y="560855"/>
            <a:ext cx="4659986" cy="5741604"/>
            <a:chOff x="2535069" y="594571"/>
            <a:chExt cx="4850032" cy="5634753"/>
          </a:xfrm>
        </p:grpSpPr>
        <p:sp>
          <p:nvSpPr>
            <p:cNvPr id="9" name="Rectangle 8"/>
            <p:cNvSpPr/>
            <p:nvPr userDrawn="1"/>
          </p:nvSpPr>
          <p:spPr>
            <a:xfrm rot="2595032">
              <a:off x="4442488" y="594571"/>
              <a:ext cx="1050039" cy="563475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" name="Oval 9"/>
            <p:cNvSpPr/>
            <p:nvPr userDrawn="1"/>
          </p:nvSpPr>
          <p:spPr>
            <a:xfrm>
              <a:off x="6329186" y="882812"/>
              <a:ext cx="1055915" cy="1055915"/>
            </a:xfrm>
            <a:prstGeom prst="ellipse">
              <a:avLst/>
            </a:prstGeom>
            <a:solidFill>
              <a:srgbClr val="315E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1" name="Oval 10"/>
            <p:cNvSpPr/>
            <p:nvPr userDrawn="1"/>
          </p:nvSpPr>
          <p:spPr>
            <a:xfrm>
              <a:off x="2535069" y="4906882"/>
              <a:ext cx="1055915" cy="105591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cxnSp>
        <p:nvCxnSpPr>
          <p:cNvPr id="13" name="Straight Connector 12"/>
          <p:cNvCxnSpPr/>
          <p:nvPr/>
        </p:nvCxnSpPr>
        <p:spPr>
          <a:xfrm>
            <a:off x="536578" y="1618752"/>
            <a:ext cx="4969073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536578" y="4221087"/>
            <a:ext cx="4969073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541577" y="1700810"/>
            <a:ext cx="4979465" cy="18722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sz="3200" b="1"/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1969" y="3634979"/>
            <a:ext cx="4969073" cy="288033"/>
          </a:xfrm>
        </p:spPr>
        <p:txBody>
          <a:bodyPr anchor="ctr">
            <a:noAutofit/>
          </a:bodyPr>
          <a:lstStyle>
            <a:lvl1pPr marL="0" marR="0" indent="0" algn="l" defTabSz="802112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l" defTabSz="802112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Secondary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211967" y="3933063"/>
            <a:ext cx="1296665" cy="288033"/>
          </a:xfrm>
        </p:spPr>
        <p:txBody>
          <a:bodyPr anchor="ctr">
            <a:noAutofit/>
          </a:bodyPr>
          <a:lstStyle>
            <a:lvl1pPr algn="r"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3" t="27795" r="5170" b="27021"/>
          <a:stretch/>
        </p:blipFill>
        <p:spPr>
          <a:xfrm>
            <a:off x="6073205" y="5126499"/>
            <a:ext cx="2581452" cy="976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718712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9228551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&amp;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3" y="1353439"/>
            <a:ext cx="8065286" cy="132835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39554" y="2758487"/>
            <a:ext cx="8065081" cy="3164070"/>
          </a:xfrm>
        </p:spPr>
        <p:txBody>
          <a:bodyPr numCol="3" spcCol="280693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7022858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Intro, 2 Column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3" y="1353439"/>
            <a:ext cx="4818710" cy="132835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39553" y="2758487"/>
            <a:ext cx="4818710" cy="3164070"/>
          </a:xfrm>
        </p:spPr>
        <p:txBody>
          <a:bodyPr numCol="2" spcCol="280693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5538278" y="1353441"/>
            <a:ext cx="3066560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0419729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3" y="1353441"/>
            <a:ext cx="4818710" cy="4569117"/>
          </a:xfrm>
        </p:spPr>
        <p:txBody>
          <a:bodyPr numCol="2" spcCol="280693"/>
          <a:lstStyle>
            <a:lvl1pPr marL="0" marR="0" indent="0" algn="l" defTabSz="801984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984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5538278" y="1353441"/>
            <a:ext cx="3066560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0034232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5" y="1353441"/>
            <a:ext cx="2550161" cy="4569117"/>
          </a:xfrm>
        </p:spPr>
        <p:txBody>
          <a:bodyPr numCol="1" spcCol="280693"/>
          <a:lstStyle>
            <a:lvl1pPr marL="0" marR="0" indent="0" algn="l" defTabSz="801984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984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3252811" y="1353441"/>
            <a:ext cx="5350645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6264299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3" y="1353441"/>
            <a:ext cx="2190323" cy="4569117"/>
          </a:xfrm>
        </p:spPr>
        <p:txBody>
          <a:bodyPr numCol="1" spcCol="280693"/>
          <a:lstStyle>
            <a:lvl1pPr marL="0" marR="0" indent="0" algn="l" defTabSz="801984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984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3252811" y="1353441"/>
            <a:ext cx="5350645" cy="4569117"/>
          </a:xfrm>
        </p:spPr>
        <p:txBody>
          <a:bodyPr/>
          <a:lstStyle/>
          <a:p>
            <a:r>
              <a:rPr lang="es-ES"/>
              <a:t>Haga clic en el icono para agregar un gráfic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1451094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8" name="Table Placeholder 7"/>
          <p:cNvSpPr>
            <a:spLocks noGrp="1"/>
          </p:cNvSpPr>
          <p:nvPr>
            <p:ph type="tbl" sz="quarter" idx="12"/>
          </p:nvPr>
        </p:nvSpPr>
        <p:spPr>
          <a:xfrm>
            <a:off x="539553" y="1353442"/>
            <a:ext cx="8068370" cy="4569117"/>
          </a:xfrm>
        </p:spPr>
        <p:txBody>
          <a:bodyPr/>
          <a:lstStyle/>
          <a:p>
            <a:r>
              <a:rPr lang="es-ES"/>
              <a:t>Haga clic en el icono para agregar una tabl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7500351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539553" y="1353442"/>
            <a:ext cx="8068370" cy="4569117"/>
          </a:xfrm>
        </p:spPr>
        <p:txBody>
          <a:bodyPr/>
          <a:lstStyle/>
          <a:p>
            <a:r>
              <a:rPr lang="es-ES"/>
              <a:t>Haga clic en el icono para agregar un gráfic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6336674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539554" y="1353443"/>
            <a:ext cx="8072469" cy="4569117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345339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760749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Breaker Slide">
    <p:bg>
      <p:bgPr>
        <a:solidFill>
          <a:srgbClr val="D7E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516" name="Rectangle 9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7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5" name="Group 14"/>
          <p:cNvGrpSpPr/>
          <p:nvPr/>
        </p:nvGrpSpPr>
        <p:grpSpPr>
          <a:xfrm>
            <a:off x="1209064" y="1028804"/>
            <a:ext cx="7446789" cy="5829202"/>
            <a:chOff x="735726" y="1020138"/>
            <a:chExt cx="7922092" cy="5847385"/>
          </a:xfrm>
        </p:grpSpPr>
        <p:sp>
          <p:nvSpPr>
            <p:cNvPr id="16" name="Rectangle 3"/>
            <p:cNvSpPr/>
            <p:nvPr userDrawn="1"/>
          </p:nvSpPr>
          <p:spPr>
            <a:xfrm rot="2700000">
              <a:off x="3801387" y="742685"/>
              <a:ext cx="1790769" cy="7922092"/>
            </a:xfrm>
            <a:custGeom>
              <a:avLst/>
              <a:gdLst>
                <a:gd name="connsiteX0" fmla="*/ 0 w 1771355"/>
                <a:gd name="connsiteY0" fmla="*/ 0 h 8124148"/>
                <a:gd name="connsiteX1" fmla="*/ 1771355 w 1771355"/>
                <a:gd name="connsiteY1" fmla="*/ 0 h 8124148"/>
                <a:gd name="connsiteX2" fmla="*/ 1771355 w 1771355"/>
                <a:gd name="connsiteY2" fmla="*/ 8124148 h 8124148"/>
                <a:gd name="connsiteX3" fmla="*/ 0 w 1771355"/>
                <a:gd name="connsiteY3" fmla="*/ 8124148 h 8124148"/>
                <a:gd name="connsiteX4" fmla="*/ 0 w 1771355"/>
                <a:gd name="connsiteY4" fmla="*/ 0 h 8124148"/>
                <a:gd name="connsiteX0" fmla="*/ 0 w 1771355"/>
                <a:gd name="connsiteY0" fmla="*/ 0 h 8124148"/>
                <a:gd name="connsiteX1" fmla="*/ 1771355 w 1771355"/>
                <a:gd name="connsiteY1" fmla="*/ 0 h 8124148"/>
                <a:gd name="connsiteX2" fmla="*/ 1771355 w 1771355"/>
                <a:gd name="connsiteY2" fmla="*/ 8124148 h 8124148"/>
                <a:gd name="connsiteX3" fmla="*/ 6736 w 1771355"/>
                <a:gd name="connsiteY3" fmla="*/ 7922092 h 8124148"/>
                <a:gd name="connsiteX4" fmla="*/ 0 w 1771355"/>
                <a:gd name="connsiteY4" fmla="*/ 0 h 8124148"/>
                <a:gd name="connsiteX0" fmla="*/ 0 w 1771355"/>
                <a:gd name="connsiteY0" fmla="*/ 0 h 7922092"/>
                <a:gd name="connsiteX1" fmla="*/ 1771355 w 1771355"/>
                <a:gd name="connsiteY1" fmla="*/ 0 h 7922092"/>
                <a:gd name="connsiteX2" fmla="*/ 1771355 w 1771355"/>
                <a:gd name="connsiteY2" fmla="*/ 6144002 h 7922092"/>
                <a:gd name="connsiteX3" fmla="*/ 6736 w 1771355"/>
                <a:gd name="connsiteY3" fmla="*/ 7922092 h 7922092"/>
                <a:gd name="connsiteX4" fmla="*/ 0 w 1771355"/>
                <a:gd name="connsiteY4" fmla="*/ 0 h 7922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71355" h="7922092">
                  <a:moveTo>
                    <a:pt x="0" y="0"/>
                  </a:moveTo>
                  <a:lnTo>
                    <a:pt x="1771355" y="0"/>
                  </a:lnTo>
                  <a:lnTo>
                    <a:pt x="1771355" y="6144002"/>
                  </a:lnTo>
                  <a:lnTo>
                    <a:pt x="6736" y="7922092"/>
                  </a:lnTo>
                  <a:cubicBezTo>
                    <a:pt x="4491" y="5281395"/>
                    <a:pt x="2245" y="2640697"/>
                    <a:pt x="0" y="0"/>
                  </a:cubicBezTo>
                  <a:close/>
                </a:path>
              </a:pathLst>
            </a:custGeom>
            <a:solidFill>
              <a:srgbClr val="9999BA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6557963" y="1958405"/>
              <a:ext cx="1760399" cy="4909118"/>
            </a:xfrm>
            <a:prstGeom prst="rect">
              <a:avLst/>
            </a:prstGeom>
            <a:solidFill>
              <a:srgbClr val="5BB7E8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8" name="Freeform 17"/>
            <p:cNvSpPr/>
            <p:nvPr userDrawn="1"/>
          </p:nvSpPr>
          <p:spPr>
            <a:xfrm>
              <a:off x="6557963" y="1842338"/>
              <a:ext cx="1550195" cy="2233614"/>
            </a:xfrm>
            <a:custGeom>
              <a:avLst/>
              <a:gdLst>
                <a:gd name="connsiteX0" fmla="*/ 114300 w 1543050"/>
                <a:gd name="connsiteY0" fmla="*/ 1590675 h 2200275"/>
                <a:gd name="connsiteX1" fmla="*/ 0 w 1543050"/>
                <a:gd name="connsiteY1" fmla="*/ 0 h 2200275"/>
                <a:gd name="connsiteX2" fmla="*/ 1543050 w 1543050"/>
                <a:gd name="connsiteY2" fmla="*/ 666750 h 2200275"/>
                <a:gd name="connsiteX3" fmla="*/ 0 w 1543050"/>
                <a:gd name="connsiteY3" fmla="*/ 2200275 h 2200275"/>
                <a:gd name="connsiteX4" fmla="*/ 0 w 1543050"/>
                <a:gd name="connsiteY4" fmla="*/ 9525 h 2200275"/>
                <a:gd name="connsiteX5" fmla="*/ 0 w 1543050"/>
                <a:gd name="connsiteY5" fmla="*/ 9525 h 2200275"/>
                <a:gd name="connsiteX0" fmla="*/ 0 w 1543050"/>
                <a:gd name="connsiteY0" fmla="*/ 0 h 2200275"/>
                <a:gd name="connsiteX1" fmla="*/ 1543050 w 1543050"/>
                <a:gd name="connsiteY1" fmla="*/ 666750 h 2200275"/>
                <a:gd name="connsiteX2" fmla="*/ 0 w 1543050"/>
                <a:gd name="connsiteY2" fmla="*/ 2200275 h 2200275"/>
                <a:gd name="connsiteX3" fmla="*/ 0 w 1543050"/>
                <a:gd name="connsiteY3" fmla="*/ 9525 h 2200275"/>
                <a:gd name="connsiteX4" fmla="*/ 0 w 1543050"/>
                <a:gd name="connsiteY4" fmla="*/ 9525 h 2200275"/>
                <a:gd name="connsiteX0" fmla="*/ 0 w 1543050"/>
                <a:gd name="connsiteY0" fmla="*/ 0 h 2200275"/>
                <a:gd name="connsiteX1" fmla="*/ 1543050 w 1543050"/>
                <a:gd name="connsiteY1" fmla="*/ 666750 h 2200275"/>
                <a:gd name="connsiteX2" fmla="*/ 0 w 1543050"/>
                <a:gd name="connsiteY2" fmla="*/ 2200275 h 2200275"/>
                <a:gd name="connsiteX3" fmla="*/ 0 w 1543050"/>
                <a:gd name="connsiteY3" fmla="*/ 9525 h 2200275"/>
                <a:gd name="connsiteX0" fmla="*/ 0 w 1543050"/>
                <a:gd name="connsiteY0" fmla="*/ 0 h 2200275"/>
                <a:gd name="connsiteX1" fmla="*/ 1543050 w 1543050"/>
                <a:gd name="connsiteY1" fmla="*/ 666750 h 2200275"/>
                <a:gd name="connsiteX2" fmla="*/ 0 w 1543050"/>
                <a:gd name="connsiteY2" fmla="*/ 2200275 h 2200275"/>
                <a:gd name="connsiteX3" fmla="*/ 0 w 1543050"/>
                <a:gd name="connsiteY3" fmla="*/ 9525 h 2200275"/>
                <a:gd name="connsiteX4" fmla="*/ 0 w 1543050"/>
                <a:gd name="connsiteY4" fmla="*/ 0 h 2200275"/>
                <a:gd name="connsiteX0" fmla="*/ 0 w 1552575"/>
                <a:gd name="connsiteY0" fmla="*/ 0 h 2200275"/>
                <a:gd name="connsiteX1" fmla="*/ 1552575 w 1552575"/>
                <a:gd name="connsiteY1" fmla="*/ 647984 h 2200275"/>
                <a:gd name="connsiteX2" fmla="*/ 0 w 1552575"/>
                <a:gd name="connsiteY2" fmla="*/ 2200275 h 2200275"/>
                <a:gd name="connsiteX3" fmla="*/ 0 w 1552575"/>
                <a:gd name="connsiteY3" fmla="*/ 9525 h 2200275"/>
                <a:gd name="connsiteX4" fmla="*/ 0 w 1552575"/>
                <a:gd name="connsiteY4" fmla="*/ 0 h 2200275"/>
                <a:gd name="connsiteX0" fmla="*/ 0 w 1547813"/>
                <a:gd name="connsiteY0" fmla="*/ 0 h 2200275"/>
                <a:gd name="connsiteX1" fmla="*/ 1547813 w 1547813"/>
                <a:gd name="connsiteY1" fmla="*/ 647984 h 2200275"/>
                <a:gd name="connsiteX2" fmla="*/ 0 w 1547813"/>
                <a:gd name="connsiteY2" fmla="*/ 2200275 h 2200275"/>
                <a:gd name="connsiteX3" fmla="*/ 0 w 1547813"/>
                <a:gd name="connsiteY3" fmla="*/ 9525 h 2200275"/>
                <a:gd name="connsiteX4" fmla="*/ 0 w 1547813"/>
                <a:gd name="connsiteY4" fmla="*/ 0 h 2200275"/>
                <a:gd name="connsiteX0" fmla="*/ 0 w 1550195"/>
                <a:gd name="connsiteY0" fmla="*/ 0 h 2200275"/>
                <a:gd name="connsiteX1" fmla="*/ 1550195 w 1550195"/>
                <a:gd name="connsiteY1" fmla="*/ 647984 h 2200275"/>
                <a:gd name="connsiteX2" fmla="*/ 0 w 1550195"/>
                <a:gd name="connsiteY2" fmla="*/ 2200275 h 2200275"/>
                <a:gd name="connsiteX3" fmla="*/ 0 w 1550195"/>
                <a:gd name="connsiteY3" fmla="*/ 9525 h 2200275"/>
                <a:gd name="connsiteX4" fmla="*/ 0 w 1550195"/>
                <a:gd name="connsiteY4" fmla="*/ 0 h 2200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0195" h="2200275">
                  <a:moveTo>
                    <a:pt x="0" y="0"/>
                  </a:moveTo>
                  <a:lnTo>
                    <a:pt x="1550195" y="647984"/>
                  </a:lnTo>
                  <a:lnTo>
                    <a:pt x="0" y="2200275"/>
                  </a:lnTo>
                  <a:lnTo>
                    <a:pt x="0" y="952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C7FB4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9" name="Oval 18"/>
            <p:cNvSpPr/>
            <p:nvPr userDrawn="1"/>
          </p:nvSpPr>
          <p:spPr>
            <a:xfrm>
              <a:off x="6556290" y="1020138"/>
              <a:ext cx="1762072" cy="1790769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24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532370" y="1648900"/>
            <a:ext cx="4975735" cy="25202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sz="3200" b="0"/>
            </a:lvl1pPr>
          </a:lstStyle>
          <a:p>
            <a:r>
              <a:rPr lang="en-US" dirty="0"/>
              <a:t>Divider </a:t>
            </a:r>
            <a:br>
              <a:rPr lang="en-US" dirty="0"/>
            </a:br>
            <a:r>
              <a:rPr lang="en-US" dirty="0"/>
              <a:t>Title</a:t>
            </a:r>
            <a:endParaRPr lang="en-GB" dirty="0"/>
          </a:p>
        </p:txBody>
      </p:sp>
      <p:cxnSp>
        <p:nvCxnSpPr>
          <p:cNvPr id="20" name="Straight Connector 19"/>
          <p:cNvCxnSpPr/>
          <p:nvPr/>
        </p:nvCxnSpPr>
        <p:spPr>
          <a:xfrm>
            <a:off x="536578" y="4273000"/>
            <a:ext cx="4969073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00753766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&amp;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3" y="1353439"/>
            <a:ext cx="8065286" cy="132835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39554" y="2758487"/>
            <a:ext cx="8065081" cy="3164070"/>
          </a:xfrm>
        </p:spPr>
        <p:txBody>
          <a:bodyPr numCol="3" spcCol="280671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5500881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Intro, 2 Column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3" y="1353439"/>
            <a:ext cx="4818710" cy="132835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39553" y="2758487"/>
            <a:ext cx="4818710" cy="3164070"/>
          </a:xfrm>
        </p:spPr>
        <p:txBody>
          <a:bodyPr numCol="2" spcCol="280671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5538278" y="1353442"/>
            <a:ext cx="3066560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3865059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Headin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3" y="1353442"/>
            <a:ext cx="4818710" cy="4569117"/>
          </a:xfrm>
        </p:spPr>
        <p:txBody>
          <a:bodyPr numCol="2" spcCol="280671"/>
          <a:lstStyle>
            <a:lvl1pPr marL="0" marR="0" indent="0" algn="l" defTabSz="801920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920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5538278" y="1353442"/>
            <a:ext cx="3066560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1780987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6" y="1353442"/>
            <a:ext cx="2550161" cy="4569117"/>
          </a:xfrm>
        </p:spPr>
        <p:txBody>
          <a:bodyPr numCol="1" spcCol="280671"/>
          <a:lstStyle>
            <a:lvl1pPr marL="0" marR="0" indent="0" algn="l" defTabSz="801920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920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3252811" y="1353442"/>
            <a:ext cx="5350645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485375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3" y="1353442"/>
            <a:ext cx="2190323" cy="4569117"/>
          </a:xfrm>
        </p:spPr>
        <p:txBody>
          <a:bodyPr numCol="1" spcCol="280671"/>
          <a:lstStyle>
            <a:lvl1pPr marL="0" marR="0" indent="0" algn="l" defTabSz="801920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920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3252811" y="1353442"/>
            <a:ext cx="5350645" cy="4569117"/>
          </a:xfrm>
        </p:spPr>
        <p:txBody>
          <a:bodyPr/>
          <a:lstStyle/>
          <a:p>
            <a:r>
              <a:rPr lang="es-ES"/>
              <a:t>Haga clic en el icono para agregar un gráfic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5553691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8" name="Table Placeholder 7"/>
          <p:cNvSpPr>
            <a:spLocks noGrp="1"/>
          </p:cNvSpPr>
          <p:nvPr>
            <p:ph type="tbl" sz="quarter" idx="12"/>
          </p:nvPr>
        </p:nvSpPr>
        <p:spPr>
          <a:xfrm>
            <a:off x="539553" y="1353443"/>
            <a:ext cx="8068370" cy="4569117"/>
          </a:xfrm>
        </p:spPr>
        <p:txBody>
          <a:bodyPr/>
          <a:lstStyle/>
          <a:p>
            <a:r>
              <a:rPr lang="es-ES"/>
              <a:t>Haga clic en el icono para agregar una tabl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5904079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539553" y="1353443"/>
            <a:ext cx="8068370" cy="4569117"/>
          </a:xfrm>
        </p:spPr>
        <p:txBody>
          <a:bodyPr/>
          <a:lstStyle/>
          <a:p>
            <a:r>
              <a:rPr lang="es-ES"/>
              <a:t>Haga clic en el icono para agregar un gráfic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1950494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539554" y="1353444"/>
            <a:ext cx="8072469" cy="4569117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0427296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9641223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&amp;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3" y="1353439"/>
            <a:ext cx="8065286" cy="1328359"/>
          </a:xfrm>
        </p:spPr>
        <p:txBody>
          <a:bodyPr/>
          <a:lstStyle>
            <a:lvl1pPr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39554" y="2758487"/>
            <a:ext cx="8065081" cy="3164070"/>
          </a:xfrm>
        </p:spPr>
        <p:txBody>
          <a:bodyPr numCol="3" spcCol="280649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8400653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 Slide">
    <p:bg>
      <p:bgPr>
        <a:solidFill>
          <a:srgbClr val="D7E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1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39554" y="395345"/>
            <a:ext cx="8072469" cy="7095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0106" rIns="0" bIns="40106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F4AB11E1-93EA-42B1-9A68-9B0FF2D2DF95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8010507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Intro, 2 Column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3" y="1353439"/>
            <a:ext cx="4818710" cy="1328359"/>
          </a:xfrm>
        </p:spPr>
        <p:txBody>
          <a:bodyPr/>
          <a:lstStyle>
            <a:lvl1pPr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39553" y="2758487"/>
            <a:ext cx="4818710" cy="3164070"/>
          </a:xfrm>
        </p:spPr>
        <p:txBody>
          <a:bodyPr numCol="2" spcCol="280649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5538278" y="1353443"/>
            <a:ext cx="3066560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7141883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Headin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3" y="1353443"/>
            <a:ext cx="4818710" cy="4569117"/>
          </a:xfrm>
        </p:spPr>
        <p:txBody>
          <a:bodyPr numCol="2" spcCol="280649"/>
          <a:lstStyle>
            <a:lvl1pPr marL="0" marR="0" indent="0" algn="l" defTabSz="801856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856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5538278" y="1353443"/>
            <a:ext cx="3066560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7208639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6" y="1353443"/>
            <a:ext cx="2550161" cy="4569117"/>
          </a:xfrm>
        </p:spPr>
        <p:txBody>
          <a:bodyPr numCol="1" spcCol="280649"/>
          <a:lstStyle>
            <a:lvl1pPr marL="0" marR="0" indent="0" algn="l" defTabSz="801856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856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3252811" y="1353443"/>
            <a:ext cx="5350645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3078848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3" y="1353443"/>
            <a:ext cx="2190323" cy="4569117"/>
          </a:xfrm>
        </p:spPr>
        <p:txBody>
          <a:bodyPr numCol="1" spcCol="280649"/>
          <a:lstStyle>
            <a:lvl1pPr marL="0" marR="0" indent="0" algn="l" defTabSz="801856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856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3252811" y="1353443"/>
            <a:ext cx="5350645" cy="4569117"/>
          </a:xfrm>
        </p:spPr>
        <p:txBody>
          <a:bodyPr/>
          <a:lstStyle/>
          <a:p>
            <a:r>
              <a:rPr lang="es-ES"/>
              <a:t>Haga clic en el icono para agregar un gráfic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906278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8" name="Table Placeholder 7"/>
          <p:cNvSpPr>
            <a:spLocks noGrp="1"/>
          </p:cNvSpPr>
          <p:nvPr>
            <p:ph type="tbl" sz="quarter" idx="12"/>
          </p:nvPr>
        </p:nvSpPr>
        <p:spPr>
          <a:xfrm>
            <a:off x="539553" y="1353444"/>
            <a:ext cx="8068370" cy="4569117"/>
          </a:xfrm>
        </p:spPr>
        <p:txBody>
          <a:bodyPr/>
          <a:lstStyle/>
          <a:p>
            <a:r>
              <a:rPr lang="es-ES"/>
              <a:t>Haga clic en el icono para agregar una tabl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007695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539553" y="1353444"/>
            <a:ext cx="8068370" cy="4569117"/>
          </a:xfrm>
        </p:spPr>
        <p:txBody>
          <a:bodyPr/>
          <a:lstStyle/>
          <a:p>
            <a:r>
              <a:rPr lang="es-ES"/>
              <a:t>Haga clic en el icono para agregar un gráfic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750603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5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/>
          <p:cNvGrpSpPr/>
          <p:nvPr/>
        </p:nvGrpSpPr>
        <p:grpSpPr>
          <a:xfrm>
            <a:off x="8500856" y="6023409"/>
            <a:ext cx="440250" cy="485443"/>
            <a:chOff x="2525486" y="2990420"/>
            <a:chExt cx="2868465" cy="2982435"/>
          </a:xfrm>
        </p:grpSpPr>
        <p:sp>
          <p:nvSpPr>
            <p:cNvPr id="11" name="Rectangle 10"/>
            <p:cNvSpPr/>
            <p:nvPr userDrawn="1"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2" name="Oval 11"/>
            <p:cNvSpPr/>
            <p:nvPr userDrawn="1"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3" name="Oval 12"/>
            <p:cNvSpPr/>
            <p:nvPr userDrawn="1"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4880" y="6335820"/>
            <a:ext cx="1348537" cy="180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F4AB11E1-93EA-42B1-9A68-9B0FF2D2DF95}" type="slidenum">
              <a:rPr lang="en-US" smtClean="0"/>
              <a:t>‹Nº›</a:t>
            </a:fld>
            <a:endParaRPr lang="en-US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36681" y="6346826"/>
            <a:ext cx="2895600" cy="168994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9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©2017 Evalueserv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426527596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ue Blank Slide">
    <p:bg>
      <p:bgPr>
        <a:solidFill>
          <a:srgbClr val="D7E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9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/>
          <p:cNvGrpSpPr/>
          <p:nvPr/>
        </p:nvGrpSpPr>
        <p:grpSpPr>
          <a:xfrm>
            <a:off x="8500856" y="6023409"/>
            <a:ext cx="440250" cy="485443"/>
            <a:chOff x="2525486" y="2990420"/>
            <a:chExt cx="2868465" cy="2982435"/>
          </a:xfrm>
        </p:grpSpPr>
        <p:sp>
          <p:nvSpPr>
            <p:cNvPr id="11" name="Rectangle 10"/>
            <p:cNvSpPr/>
            <p:nvPr userDrawn="1"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2" name="Oval 11"/>
            <p:cNvSpPr/>
            <p:nvPr userDrawn="1"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3" name="Oval 12"/>
            <p:cNvSpPr/>
            <p:nvPr userDrawn="1"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4880" y="6335820"/>
            <a:ext cx="1348537" cy="180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F4AB11E1-93EA-42B1-9A68-9B0FF2D2DF95}" type="slidenum">
              <a:rPr lang="en-US" smtClean="0"/>
              <a:t>‹Nº›</a:t>
            </a:fld>
            <a:endParaRPr lang="en-US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36681" y="6346826"/>
            <a:ext cx="2895600" cy="168994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9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©2017 Evalueserv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3028775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ra Header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6" y="1353443"/>
            <a:ext cx="2550161" cy="4569117"/>
          </a:xfrm>
        </p:spPr>
        <p:txBody>
          <a:bodyPr numCol="1" spcCol="280649"/>
          <a:lstStyle>
            <a:lvl1pPr marL="0" marR="0" indent="0" algn="l" defTabSz="801856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856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3252811" y="1353443"/>
            <a:ext cx="5350645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8261751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516" name="Rectangle 9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7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/>
          <p:cNvGrpSpPr/>
          <p:nvPr userDrawn="1"/>
        </p:nvGrpSpPr>
        <p:grpSpPr>
          <a:xfrm>
            <a:off x="2741470" y="560855"/>
            <a:ext cx="4659986" cy="5741604"/>
            <a:chOff x="2535069" y="594571"/>
            <a:chExt cx="4850032" cy="5634753"/>
          </a:xfrm>
        </p:grpSpPr>
        <p:sp>
          <p:nvSpPr>
            <p:cNvPr id="9" name="Rectangle 8"/>
            <p:cNvSpPr/>
            <p:nvPr userDrawn="1"/>
          </p:nvSpPr>
          <p:spPr>
            <a:xfrm rot="2595032">
              <a:off x="4442488" y="594571"/>
              <a:ext cx="1050039" cy="563475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" name="Oval 9"/>
            <p:cNvSpPr/>
            <p:nvPr userDrawn="1"/>
          </p:nvSpPr>
          <p:spPr>
            <a:xfrm>
              <a:off x="6329186" y="882812"/>
              <a:ext cx="1055915" cy="1055915"/>
            </a:xfrm>
            <a:prstGeom prst="ellipse">
              <a:avLst/>
            </a:prstGeom>
            <a:solidFill>
              <a:srgbClr val="315E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1" name="Oval 10"/>
            <p:cNvSpPr/>
            <p:nvPr userDrawn="1"/>
          </p:nvSpPr>
          <p:spPr>
            <a:xfrm>
              <a:off x="2535069" y="4906882"/>
              <a:ext cx="1055915" cy="105591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cxnSp>
        <p:nvCxnSpPr>
          <p:cNvPr id="13" name="Straight Connector 12"/>
          <p:cNvCxnSpPr/>
          <p:nvPr userDrawn="1"/>
        </p:nvCxnSpPr>
        <p:spPr>
          <a:xfrm>
            <a:off x="536578" y="1618752"/>
            <a:ext cx="4969073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536578" y="4221087"/>
            <a:ext cx="4969073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541577" y="1700810"/>
            <a:ext cx="4979465" cy="18722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sz="3200" b="1"/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1969" y="3634979"/>
            <a:ext cx="4969073" cy="288033"/>
          </a:xfrm>
        </p:spPr>
        <p:txBody>
          <a:bodyPr anchor="ctr">
            <a:noAutofit/>
          </a:bodyPr>
          <a:lstStyle>
            <a:lvl1pPr marL="0" marR="0" indent="0" algn="l" defTabSz="802112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l" defTabSz="802112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Secondary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937366" y="3933063"/>
            <a:ext cx="1571266" cy="288033"/>
          </a:xfrm>
        </p:spPr>
        <p:txBody>
          <a:bodyPr anchor="ctr">
            <a:noAutofit/>
          </a:bodyPr>
          <a:lstStyle>
            <a:lvl1pPr algn="r"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 err="1"/>
              <a:t>mmmm</a:t>
            </a:r>
            <a:r>
              <a:rPr lang="en-US" dirty="0"/>
              <a:t> d, </a:t>
            </a:r>
            <a:r>
              <a:rPr lang="en-US" dirty="0" err="1"/>
              <a:t>yyyy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3" t="27795" r="5170" b="27021"/>
          <a:stretch/>
        </p:blipFill>
        <p:spPr>
          <a:xfrm>
            <a:off x="6073205" y="5126499"/>
            <a:ext cx="2581452" cy="976230"/>
          </a:xfrm>
          <a:prstGeom prst="rect">
            <a:avLst/>
          </a:prstGeom>
        </p:spPr>
      </p:pic>
      <p:sp>
        <p:nvSpPr>
          <p:cNvPr id="4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548121" y="5447237"/>
            <a:ext cx="1386607" cy="557807"/>
          </a:xfrm>
        </p:spPr>
        <p:txBody>
          <a:bodyPr anchor="ctr">
            <a:normAutofit/>
          </a:bodyPr>
          <a:lstStyle>
            <a:lvl1pPr>
              <a:defRPr sz="1100"/>
            </a:lvl1pPr>
          </a:lstStyle>
          <a:p>
            <a:r>
              <a:rPr lang="en-GB" dirty="0"/>
              <a:t>‘Space for client logo, delete if not needed’</a:t>
            </a:r>
            <a:endParaRPr lang="en-US" dirty="0"/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51969" y="4247441"/>
            <a:ext cx="4969073" cy="288033"/>
          </a:xfrm>
        </p:spPr>
        <p:txBody>
          <a:bodyPr anchor="ctr">
            <a:noAutofit/>
          </a:bodyPr>
          <a:lstStyle>
            <a:lvl1pPr marL="0" marR="0" indent="0" algn="l" defTabSz="802112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 sz="1600">
                <a:solidFill>
                  <a:schemeClr val="bg2"/>
                </a:solidFill>
              </a:defRPr>
            </a:lvl1pPr>
          </a:lstStyle>
          <a:p>
            <a:r>
              <a:rPr lang="en-GB" sz="1600" kern="0" dirty="0">
                <a:solidFill>
                  <a:srgbClr val="939598"/>
                </a:solidFill>
              </a:rPr>
              <a:t>Presenter’s Name</a:t>
            </a:r>
          </a:p>
        </p:txBody>
      </p:sp>
    </p:spTree>
    <p:extLst>
      <p:ext uri="{BB962C8B-B14F-4D97-AF65-F5344CB8AC3E}">
        <p14:creationId xmlns:p14="http://schemas.microsoft.com/office/powerpoint/2010/main" val="18973752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539554" y="1353442"/>
            <a:ext cx="8072469" cy="4569117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6211828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539554" y="1353442"/>
            <a:ext cx="8072469" cy="4569117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3471085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oleObject" Target="../embeddings/oleObject8.bin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tags" Target="../tags/tag8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vmlDrawing" Target="../drawings/vmlDrawing8.vml"/><Relationship Id="rId5" Type="http://schemas.openxmlformats.org/officeDocument/2006/relationships/slideLayout" Target="../slideLayouts/slideLayout13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oleObject" Target="../embeddings/oleObject9.bin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tags" Target="../tags/tag9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vmlDrawing" Target="../drawings/vmlDrawing9.vml"/><Relationship Id="rId5" Type="http://schemas.openxmlformats.org/officeDocument/2006/relationships/slideLayout" Target="../slideLayouts/slideLayout22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oleObject" Target="../embeddings/oleObject10.bin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tags" Target="../tags/tag10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vmlDrawing" Target="../drawings/vmlDrawing10.vml"/><Relationship Id="rId5" Type="http://schemas.openxmlformats.org/officeDocument/2006/relationships/slideLayout" Target="../slideLayouts/slideLayout31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11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0" name="think-cell Slide" r:id="rId12" imgW="0" imgH="0" progId="TCLayout.ActiveDocument.1">
                  <p:embed/>
                </p:oleObj>
              </mc:Choice>
              <mc:Fallback>
                <p:oleObj name="think-cell Slide" r:id="rId12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539554" y="1353439"/>
            <a:ext cx="8072469" cy="4569117"/>
          </a:xfrm>
          <a:prstGeom prst="rect">
            <a:avLst/>
          </a:prstGeom>
        </p:spPr>
        <p:txBody>
          <a:bodyPr vert="horz" lIns="0" tIns="40106" rIns="0" bIns="40106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5"/>
            <a:r>
              <a:rPr lang="en-IN" sz="1200"/>
              <a:t>Fifth level</a:t>
            </a:r>
            <a:endParaRPr lang="en-GB" dirty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539554" y="395345"/>
            <a:ext cx="8072469" cy="709521"/>
          </a:xfrm>
          <a:prstGeom prst="rect">
            <a:avLst/>
          </a:prstGeom>
        </p:spPr>
        <p:txBody>
          <a:bodyPr vert="horz" lIns="0" tIns="40106" rIns="0" bIns="40106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IN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536577" y="1162314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 flipV="1">
            <a:off x="536577" y="381000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8500856" y="6023409"/>
            <a:ext cx="440250" cy="485443"/>
            <a:chOff x="2525486" y="2990420"/>
            <a:chExt cx="2868465" cy="2982435"/>
          </a:xfrm>
        </p:grpSpPr>
        <p:sp>
          <p:nvSpPr>
            <p:cNvPr id="20" name="Rectangle 19"/>
            <p:cNvSpPr/>
            <p:nvPr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2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4880" y="6335820"/>
            <a:ext cx="1348537" cy="180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F4AB11E1-93EA-42B1-9A68-9B0FF2D2DF95}" type="slidenum">
              <a:rPr lang="en-US" smtClean="0"/>
              <a:t>‹Nº›</a:t>
            </a:fld>
            <a:endParaRPr lang="en-US"/>
          </a:p>
        </p:txBody>
      </p:sp>
      <p:sp>
        <p:nvSpPr>
          <p:cNvPr id="2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36681" y="6346826"/>
            <a:ext cx="2895600" cy="168994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900" b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/>
              <a:t>©2017 Evalueserve. All rights reserved.</a:t>
            </a:r>
          </a:p>
        </p:txBody>
      </p:sp>
      <p:cxnSp>
        <p:nvCxnSpPr>
          <p:cNvPr id="25" name="Straight Connector 24"/>
          <p:cNvCxnSpPr/>
          <p:nvPr/>
        </p:nvCxnSpPr>
        <p:spPr>
          <a:xfrm>
            <a:off x="536577" y="1162314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 flipV="1">
            <a:off x="536577" y="381000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 30"/>
          <p:cNvGrpSpPr/>
          <p:nvPr/>
        </p:nvGrpSpPr>
        <p:grpSpPr>
          <a:xfrm>
            <a:off x="8500856" y="6023409"/>
            <a:ext cx="440250" cy="485443"/>
            <a:chOff x="2525486" y="2990420"/>
            <a:chExt cx="2868465" cy="2982435"/>
          </a:xfrm>
        </p:grpSpPr>
        <p:sp>
          <p:nvSpPr>
            <p:cNvPr id="32" name="Rectangle 31"/>
            <p:cNvSpPr/>
            <p:nvPr userDrawn="1"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33" name="Oval 32"/>
            <p:cNvSpPr/>
            <p:nvPr userDrawn="1"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34" name="Oval 33"/>
            <p:cNvSpPr/>
            <p:nvPr userDrawn="1"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886824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97" r:id="rId6"/>
    <p:sldLayoutId id="2147483700" r:id="rId7"/>
    <p:sldLayoutId id="2147483701" r:id="rId8"/>
  </p:sldLayoutIdLst>
  <p:transition>
    <p:fade/>
  </p:transition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100" b="0" dirty="0">
          <a:solidFill>
            <a:schemeClr val="tx1">
              <a:lumMod val="65000"/>
              <a:lumOff val="35000"/>
            </a:schemeClr>
          </a:solidFill>
          <a:latin typeface="+mj-lt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5pPr>
      <a:lvl6pPr marL="457163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6pPr>
      <a:lvl7pPr marL="914327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7pPr>
      <a:lvl8pPr marL="1371491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8pPr>
      <a:lvl9pPr marL="1828654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ts val="526"/>
        </a:spcBef>
        <a:spcAft>
          <a:spcPts val="263"/>
        </a:spcAft>
        <a:buClr>
          <a:schemeClr val="tx1"/>
        </a:buClr>
        <a:defRPr sz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200528" indent="-200528" algn="l" rtl="0" eaLnBrk="1" fontAlgn="base" hangingPunct="1">
        <a:spcBef>
          <a:spcPts val="526"/>
        </a:spcBef>
        <a:spcAft>
          <a:spcPts val="263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•"/>
        <a:defRPr lang="en-US" sz="1200" kern="1200" baseline="0" dirty="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01056" indent="-200528" algn="l" rtl="0" eaLnBrk="1" fontAlgn="base" hangingPunct="1">
        <a:spcBef>
          <a:spcPts val="526"/>
        </a:spcBef>
        <a:spcAft>
          <a:spcPts val="263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–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604369" indent="-199136" algn="l" rtl="0" eaLnBrk="1" fontAlgn="base" hangingPunct="1">
        <a:spcBef>
          <a:spcPts val="526"/>
        </a:spcBef>
        <a:spcAft>
          <a:spcPts val="263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•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802112" indent="-197743" algn="l" rtl="0" eaLnBrk="1" fontAlgn="base" hangingPunct="1">
        <a:spcBef>
          <a:spcPts val="526"/>
        </a:spcBef>
        <a:spcAft>
          <a:spcPts val="263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–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999854" indent="-197743" algn="l" rtl="0" eaLnBrk="1" fontAlgn="base" hangingPunct="1">
        <a:spcBef>
          <a:spcPts val="526"/>
        </a:spcBef>
        <a:spcAft>
          <a:spcPts val="263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•"/>
        <a:defRPr sz="1200" baseline="0">
          <a:solidFill>
            <a:schemeClr val="tx1">
              <a:lumMod val="65000"/>
              <a:lumOff val="35000"/>
            </a:schemeClr>
          </a:solidFill>
          <a:latin typeface="+mn-lt"/>
        </a:defRPr>
      </a:lvl6pPr>
      <a:lvl7pPr marL="1485781" indent="-147627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7pPr>
      <a:lvl8pPr marL="1942945" indent="-147627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8pPr>
      <a:lvl9pPr marL="2400109" indent="-147627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3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7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1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54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17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82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45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08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7">
          <p15:clr>
            <a:srgbClr val="F26B43"/>
          </p15:clr>
        </p15:guide>
        <p15:guide id="2" pos="395" userDrawn="1">
          <p15:clr>
            <a:srgbClr val="F26B43"/>
          </p15:clr>
        </p15:guide>
        <p15:guide id="3" pos="6345" userDrawn="1">
          <p15:clr>
            <a:srgbClr val="F26B43"/>
          </p15:clr>
        </p15:guide>
        <p15:guide id="4" orient="horz" pos="928" userDrawn="1">
          <p15:clr>
            <a:srgbClr val="F26B43"/>
          </p15:clr>
        </p15:guide>
        <p15:guide id="6" orient="horz" pos="765" userDrawn="1">
          <p15:clr>
            <a:srgbClr val="F26B43"/>
          </p15:clr>
        </p15:guide>
        <p15:guide id="7" orient="horz" pos="410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1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3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539554" y="1353441"/>
            <a:ext cx="8072469" cy="4569117"/>
          </a:xfrm>
          <a:prstGeom prst="rect">
            <a:avLst/>
          </a:prstGeom>
        </p:spPr>
        <p:txBody>
          <a:bodyPr vert="horz" lIns="0" tIns="40103" rIns="0" bIns="40103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5"/>
            <a:r>
              <a:rPr lang="en-IN" dirty="0"/>
              <a:t>Fifth level</a:t>
            </a:r>
            <a:endParaRPr lang="en-US" dirty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539554" y="395346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IN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536577" y="1162314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536577" y="381000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8500857" y="6023409"/>
            <a:ext cx="440250" cy="485443"/>
            <a:chOff x="2525486" y="2990420"/>
            <a:chExt cx="2868465" cy="2982435"/>
          </a:xfrm>
        </p:grpSpPr>
        <p:sp>
          <p:nvSpPr>
            <p:cNvPr id="20" name="Rectangle 19"/>
            <p:cNvSpPr/>
            <p:nvPr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04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04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04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4881" y="6335821"/>
            <a:ext cx="1348537" cy="180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20330FD-FE2A-483E-B0C7-29AD7FB3CAEB}" type="slidenum">
              <a:rPr lang="en-GB" smtClean="0"/>
              <a:pPr/>
              <a:t>‹Nº›</a:t>
            </a:fld>
            <a:r>
              <a:rPr lang="en-GB" dirty="0"/>
              <a:t> /  evalueserve.com</a:t>
            </a:r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36682" y="6346826"/>
            <a:ext cx="2895600" cy="168994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9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©2017 Evalueserve. All rights reserved.</a:t>
            </a:r>
            <a:endParaRPr lang="en-GB" dirty="0"/>
          </a:p>
        </p:txBody>
      </p:sp>
      <p:cxnSp>
        <p:nvCxnSpPr>
          <p:cNvPr id="23" name="Straight Connector 22"/>
          <p:cNvCxnSpPr/>
          <p:nvPr/>
        </p:nvCxnSpPr>
        <p:spPr>
          <a:xfrm>
            <a:off x="536577" y="1162314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 flipV="1">
            <a:off x="536577" y="381000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131401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</p:sldLayoutIdLst>
  <p:transition>
    <p:fade/>
  </p:transition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100" b="0" dirty="0">
          <a:solidFill>
            <a:schemeClr val="tx2"/>
          </a:solidFill>
          <a:latin typeface="+mj-lt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5pPr>
      <a:lvl6pPr marL="457126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6pPr>
      <a:lvl7pPr marL="914254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7pPr>
      <a:lvl8pPr marL="1371382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8pPr>
      <a:lvl9pPr marL="1828508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ts val="526"/>
        </a:spcBef>
        <a:spcAft>
          <a:spcPts val="263"/>
        </a:spcAft>
        <a:buClr>
          <a:schemeClr val="tx1"/>
        </a:buClr>
        <a:defRPr sz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197727" indent="-200512" algn="l" rtl="0" eaLnBrk="1" fontAlgn="base" hangingPunct="1">
        <a:spcBef>
          <a:spcPts val="526"/>
        </a:spcBef>
        <a:spcAft>
          <a:spcPts val="263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200" baseline="0">
          <a:solidFill>
            <a:schemeClr val="tx1">
              <a:lumMod val="65000"/>
              <a:lumOff val="35000"/>
            </a:schemeClr>
          </a:solidFill>
          <a:latin typeface="+mn-lt"/>
        </a:defRPr>
      </a:lvl2pPr>
      <a:lvl3pPr marL="401024" indent="-200512" algn="l" rtl="0" eaLnBrk="1" fontAlgn="base" hangingPunct="1">
        <a:spcBef>
          <a:spcPts val="526"/>
        </a:spcBef>
        <a:spcAft>
          <a:spcPts val="263"/>
        </a:spcAft>
        <a:buClr>
          <a:schemeClr val="tx2"/>
        </a:buClr>
        <a:buSzPct val="100000"/>
        <a:buFont typeface="Arial" panose="020B0604020202020204" pitchFamily="34" charset="0"/>
        <a:buChar char="–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604321" indent="-199120" algn="l" rtl="0" eaLnBrk="1" fontAlgn="base" hangingPunct="1">
        <a:spcBef>
          <a:spcPts val="526"/>
        </a:spcBef>
        <a:spcAft>
          <a:spcPts val="263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802048" indent="-197727" algn="l" rtl="0" eaLnBrk="1" fontAlgn="base" hangingPunct="1">
        <a:spcBef>
          <a:spcPts val="526"/>
        </a:spcBef>
        <a:spcAft>
          <a:spcPts val="263"/>
        </a:spcAft>
        <a:buClr>
          <a:schemeClr val="tx2"/>
        </a:buClr>
        <a:buSzPct val="100000"/>
        <a:buFont typeface="Arial" panose="020B0604020202020204" pitchFamily="34" charset="0"/>
        <a:buChar char="–"/>
        <a:defRPr sz="1200" baseline="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999775" indent="-197727" algn="l" rtl="0" eaLnBrk="1" fontAlgn="base" hangingPunct="1">
        <a:spcBef>
          <a:spcPts val="526"/>
        </a:spcBef>
        <a:spcAft>
          <a:spcPts val="263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6pPr>
      <a:lvl7pPr marL="1485663" indent="-147615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7pPr>
      <a:lvl8pPr marL="1942790" indent="-147615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8pPr>
      <a:lvl9pPr marL="2399917" indent="-147615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26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54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82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08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35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63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90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16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7">
          <p15:clr>
            <a:srgbClr val="F26B43"/>
          </p15:clr>
        </p15:guide>
        <p15:guide id="2" pos="394">
          <p15:clr>
            <a:srgbClr val="F26B43"/>
          </p15:clr>
        </p15:guide>
        <p15:guide id="3" orient="horz" pos="4109" userDrawn="1">
          <p15:clr>
            <a:srgbClr val="F26B43"/>
          </p15:clr>
        </p15:guide>
        <p15:guide id="4" pos="3426">
          <p15:clr>
            <a:srgbClr val="F26B43"/>
          </p15:clr>
        </p15:guide>
        <p15:guide id="5" pos="3306">
          <p15:clr>
            <a:srgbClr val="F26B43"/>
          </p15:clr>
        </p15:guide>
        <p15:guide id="6" pos="6341">
          <p15:clr>
            <a:srgbClr val="F26B43"/>
          </p15:clr>
        </p15:guide>
        <p15:guide id="7" orient="horz" pos="930">
          <p15:clr>
            <a:srgbClr val="F26B43"/>
          </p15:clr>
        </p15:guide>
        <p15:guide id="8" orient="horz" pos="76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1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77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539554" y="1353442"/>
            <a:ext cx="8072469" cy="4569117"/>
          </a:xfrm>
          <a:prstGeom prst="rect">
            <a:avLst/>
          </a:prstGeom>
        </p:spPr>
        <p:txBody>
          <a:bodyPr vert="horz" lIns="0" tIns="40099" rIns="0" bIns="40099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5"/>
            <a:r>
              <a:rPr lang="en-IN" dirty="0"/>
              <a:t>Fifth level</a:t>
            </a:r>
            <a:endParaRPr lang="en-US" dirty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539554" y="395347"/>
            <a:ext cx="8072469" cy="709521"/>
          </a:xfrm>
          <a:prstGeom prst="rect">
            <a:avLst/>
          </a:prstGeom>
        </p:spPr>
        <p:txBody>
          <a:bodyPr vert="horz" lIns="0" tIns="40099" rIns="0" bIns="40099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IN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536577" y="1162314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536577" y="381000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8500858" y="6023409"/>
            <a:ext cx="440250" cy="485443"/>
            <a:chOff x="2525486" y="2990420"/>
            <a:chExt cx="2868465" cy="2982435"/>
          </a:xfrm>
        </p:grpSpPr>
        <p:sp>
          <p:nvSpPr>
            <p:cNvPr id="20" name="Rectangle 19"/>
            <p:cNvSpPr/>
            <p:nvPr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19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19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19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4882" y="6335822"/>
            <a:ext cx="1348537" cy="180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20330FD-FE2A-483E-B0C7-29AD7FB3CAEB}" type="slidenum">
              <a:rPr lang="en-GB" smtClean="0"/>
              <a:pPr/>
              <a:t>‹Nº›</a:t>
            </a:fld>
            <a:r>
              <a:rPr lang="en-GB" dirty="0"/>
              <a:t> /  evalueserve.com</a:t>
            </a:r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36683" y="6346826"/>
            <a:ext cx="2895600" cy="168994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9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©2017 Evalueserve. All rights reserved.</a:t>
            </a:r>
            <a:endParaRPr lang="en-GB" dirty="0"/>
          </a:p>
        </p:txBody>
      </p:sp>
      <p:cxnSp>
        <p:nvCxnSpPr>
          <p:cNvPr id="23" name="Straight Connector 22"/>
          <p:cNvCxnSpPr/>
          <p:nvPr/>
        </p:nvCxnSpPr>
        <p:spPr>
          <a:xfrm>
            <a:off x="536577" y="1162314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 flipV="1">
            <a:off x="536577" y="381000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7013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</p:sldLayoutIdLst>
  <p:transition>
    <p:fade/>
  </p:transition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100" b="0" dirty="0">
          <a:solidFill>
            <a:schemeClr val="accent2"/>
          </a:solidFill>
          <a:latin typeface="+mj-lt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5pPr>
      <a:lvl6pPr marL="457090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6pPr>
      <a:lvl7pPr marL="914181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7pPr>
      <a:lvl8pPr marL="1371272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8pPr>
      <a:lvl9pPr marL="1828362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ts val="526"/>
        </a:spcBef>
        <a:spcAft>
          <a:spcPts val="263"/>
        </a:spcAft>
        <a:buClr>
          <a:schemeClr val="tx1"/>
        </a:buClr>
        <a:defRPr sz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197711" indent="-200496" algn="l" rtl="0" eaLnBrk="1" fontAlgn="base" hangingPunct="1">
        <a:spcBef>
          <a:spcPts val="526"/>
        </a:spcBef>
        <a:spcAft>
          <a:spcPts val="263"/>
        </a:spcAft>
        <a:buClr>
          <a:schemeClr val="accent2"/>
        </a:buClr>
        <a:buSzPct val="100000"/>
        <a:buFont typeface="Arial" panose="020B0604020202020204" pitchFamily="34" charset="0"/>
        <a:buChar char="•"/>
        <a:defRPr sz="1200" baseline="0">
          <a:solidFill>
            <a:schemeClr val="tx1">
              <a:lumMod val="65000"/>
              <a:lumOff val="35000"/>
            </a:schemeClr>
          </a:solidFill>
          <a:latin typeface="+mn-lt"/>
        </a:defRPr>
      </a:lvl2pPr>
      <a:lvl3pPr marL="400992" indent="-200496" algn="l" rtl="0" eaLnBrk="1" fontAlgn="base" hangingPunct="1">
        <a:spcBef>
          <a:spcPts val="526"/>
        </a:spcBef>
        <a:spcAft>
          <a:spcPts val="263"/>
        </a:spcAft>
        <a:buClr>
          <a:schemeClr val="accent2"/>
        </a:buClr>
        <a:buSzPct val="100000"/>
        <a:buFont typeface="Arial" panose="020B0604020202020204" pitchFamily="34" charset="0"/>
        <a:buChar char="–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604273" indent="-199104" algn="l" rtl="0" eaLnBrk="1" fontAlgn="base" hangingPunct="1">
        <a:spcBef>
          <a:spcPts val="526"/>
        </a:spcBef>
        <a:spcAft>
          <a:spcPts val="263"/>
        </a:spcAft>
        <a:buClr>
          <a:schemeClr val="accent2"/>
        </a:buClr>
        <a:buSzPct val="100000"/>
        <a:buFont typeface="Arial" panose="020B0604020202020204" pitchFamily="34" charset="0"/>
        <a:buChar char="•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801984" indent="-197711" algn="l" rtl="0" eaLnBrk="1" fontAlgn="base" hangingPunct="1">
        <a:spcBef>
          <a:spcPts val="526"/>
        </a:spcBef>
        <a:spcAft>
          <a:spcPts val="263"/>
        </a:spcAft>
        <a:buClr>
          <a:schemeClr val="accent2"/>
        </a:buClr>
        <a:buSzPct val="100000"/>
        <a:buFont typeface="Arial" panose="020B0604020202020204" pitchFamily="34" charset="0"/>
        <a:buChar char="–"/>
        <a:defRPr sz="1200" baseline="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999696" indent="-197711" algn="l" rtl="0" eaLnBrk="1" fontAlgn="base" hangingPunct="1">
        <a:spcBef>
          <a:spcPts val="526"/>
        </a:spcBef>
        <a:spcAft>
          <a:spcPts val="263"/>
        </a:spcAft>
        <a:buClr>
          <a:schemeClr val="accent2"/>
        </a:buClr>
        <a:buSzPct val="100000"/>
        <a:buFont typeface="Arial" panose="020B0604020202020204" pitchFamily="34" charset="0"/>
        <a:buChar char="•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6pPr>
      <a:lvl7pPr marL="1485544" indent="-147603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7pPr>
      <a:lvl8pPr marL="1942635" indent="-147603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8pPr>
      <a:lvl9pPr marL="2399725" indent="-147603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90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81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72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62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52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45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35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725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7">
          <p15:clr>
            <a:srgbClr val="F26B43"/>
          </p15:clr>
        </p15:guide>
        <p15:guide id="2" pos="394">
          <p15:clr>
            <a:srgbClr val="F26B43"/>
          </p15:clr>
        </p15:guide>
        <p15:guide id="4" pos="3426">
          <p15:clr>
            <a:srgbClr val="F26B43"/>
          </p15:clr>
        </p15:guide>
        <p15:guide id="5" pos="3306">
          <p15:clr>
            <a:srgbClr val="F26B43"/>
          </p15:clr>
        </p15:guide>
        <p15:guide id="6" pos="6341">
          <p15:clr>
            <a:srgbClr val="F26B43"/>
          </p15:clr>
        </p15:guide>
        <p15:guide id="7" orient="horz" pos="930">
          <p15:clr>
            <a:srgbClr val="F26B43"/>
          </p15:clr>
        </p15:guide>
        <p15:guide id="8" orient="horz" pos="768">
          <p15:clr>
            <a:srgbClr val="F26B43"/>
          </p15:clr>
        </p15:guide>
        <p15:guide id="9" orient="horz" pos="4109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1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01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539554" y="1353443"/>
            <a:ext cx="8072469" cy="4569117"/>
          </a:xfrm>
          <a:prstGeom prst="rect">
            <a:avLst/>
          </a:prstGeom>
        </p:spPr>
        <p:txBody>
          <a:bodyPr vert="horz" lIns="0" tIns="40096" rIns="0" bIns="40096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5"/>
            <a:r>
              <a:rPr lang="en-IN" dirty="0"/>
              <a:t>Fifth level</a:t>
            </a:r>
            <a:endParaRPr lang="en-US" dirty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539554" y="395348"/>
            <a:ext cx="8072469" cy="709521"/>
          </a:xfrm>
          <a:prstGeom prst="rect">
            <a:avLst/>
          </a:prstGeom>
        </p:spPr>
        <p:txBody>
          <a:bodyPr vert="horz" lIns="0" tIns="40096" rIns="0" bIns="40096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IN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536577" y="1162314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536577" y="381000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8500858" y="6023409"/>
            <a:ext cx="440250" cy="485443"/>
            <a:chOff x="2525486" y="2990420"/>
            <a:chExt cx="2868465" cy="2982435"/>
          </a:xfrm>
        </p:grpSpPr>
        <p:sp>
          <p:nvSpPr>
            <p:cNvPr id="20" name="Rectangle 19"/>
            <p:cNvSpPr/>
            <p:nvPr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192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192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192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4883" y="6335823"/>
            <a:ext cx="1348537" cy="180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20330FD-FE2A-483E-B0C7-29AD7FB3CAEB}" type="slidenum">
              <a:rPr lang="en-GB" smtClean="0"/>
              <a:pPr/>
              <a:t>‹Nº›</a:t>
            </a:fld>
            <a:r>
              <a:rPr lang="en-GB" dirty="0"/>
              <a:t> /  evalueserve.com</a:t>
            </a:r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36683" y="6346826"/>
            <a:ext cx="2895600" cy="168994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9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©2017 Evalueserve. All rights reserved.</a:t>
            </a:r>
            <a:endParaRPr lang="en-GB" dirty="0"/>
          </a:p>
        </p:txBody>
      </p:sp>
      <p:cxnSp>
        <p:nvCxnSpPr>
          <p:cNvPr id="23" name="Straight Connector 22"/>
          <p:cNvCxnSpPr/>
          <p:nvPr/>
        </p:nvCxnSpPr>
        <p:spPr>
          <a:xfrm>
            <a:off x="536577" y="1162314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 flipV="1">
            <a:off x="536577" y="381000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44900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</p:sldLayoutIdLst>
  <p:transition>
    <p:fade/>
  </p:transition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100" b="0" dirty="0">
          <a:solidFill>
            <a:srgbClr val="47254B"/>
          </a:solidFill>
          <a:latin typeface="+mj-lt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5pPr>
      <a:lvl6pPr marL="457054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6pPr>
      <a:lvl7pPr marL="914108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7pPr>
      <a:lvl8pPr marL="1371163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8pPr>
      <a:lvl9pPr marL="1828216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ts val="526"/>
        </a:spcBef>
        <a:spcAft>
          <a:spcPts val="263"/>
        </a:spcAft>
        <a:buClr>
          <a:schemeClr val="tx1"/>
        </a:buClr>
        <a:defRPr sz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197695" indent="-200480" algn="l" rtl="0" eaLnBrk="1" fontAlgn="base" hangingPunct="1">
        <a:spcBef>
          <a:spcPts val="526"/>
        </a:spcBef>
        <a:spcAft>
          <a:spcPts val="263"/>
        </a:spcAft>
        <a:buClr>
          <a:srgbClr val="47254B"/>
        </a:buClr>
        <a:buSzPct val="100000"/>
        <a:buFont typeface="Arial" panose="020B0604020202020204" pitchFamily="34" charset="0"/>
        <a:buChar char="•"/>
        <a:defRPr sz="1200" baseline="0">
          <a:solidFill>
            <a:schemeClr val="tx1">
              <a:lumMod val="65000"/>
              <a:lumOff val="35000"/>
            </a:schemeClr>
          </a:solidFill>
          <a:latin typeface="+mn-lt"/>
        </a:defRPr>
      </a:lvl2pPr>
      <a:lvl3pPr marL="400960" indent="-200480" algn="l" rtl="0" eaLnBrk="1" fontAlgn="base" hangingPunct="1">
        <a:spcBef>
          <a:spcPts val="526"/>
        </a:spcBef>
        <a:spcAft>
          <a:spcPts val="263"/>
        </a:spcAft>
        <a:buClr>
          <a:srgbClr val="47254B"/>
        </a:buClr>
        <a:buSzPct val="100000"/>
        <a:buFont typeface="Arial" panose="020B0604020202020204" pitchFamily="34" charset="0"/>
        <a:buChar char="–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604225" indent="-199088" algn="l" rtl="0" eaLnBrk="1" fontAlgn="base" hangingPunct="1">
        <a:spcBef>
          <a:spcPts val="526"/>
        </a:spcBef>
        <a:spcAft>
          <a:spcPts val="263"/>
        </a:spcAft>
        <a:buClr>
          <a:srgbClr val="47254B"/>
        </a:buClr>
        <a:buSzPct val="100000"/>
        <a:buFont typeface="Arial" panose="020B0604020202020204" pitchFamily="34" charset="0"/>
        <a:buChar char="•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801920" indent="-197695" algn="l" rtl="0" eaLnBrk="1" fontAlgn="base" hangingPunct="1">
        <a:spcBef>
          <a:spcPts val="526"/>
        </a:spcBef>
        <a:spcAft>
          <a:spcPts val="263"/>
        </a:spcAft>
        <a:buClr>
          <a:srgbClr val="47254B"/>
        </a:buClr>
        <a:buSzPct val="100000"/>
        <a:buFont typeface="Arial" panose="020B0604020202020204" pitchFamily="34" charset="0"/>
        <a:buChar char="–"/>
        <a:defRPr sz="1200" baseline="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999616" indent="-197695" algn="l" rtl="0" eaLnBrk="1" fontAlgn="base" hangingPunct="1">
        <a:spcBef>
          <a:spcPts val="526"/>
        </a:spcBef>
        <a:spcAft>
          <a:spcPts val="263"/>
        </a:spcAft>
        <a:buClr>
          <a:srgbClr val="47254B"/>
        </a:buClr>
        <a:buSzPct val="100000"/>
        <a:buFont typeface="Arial" panose="020B0604020202020204" pitchFamily="34" charset="0"/>
        <a:buChar char="•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6pPr>
      <a:lvl7pPr marL="1485426" indent="-147592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7pPr>
      <a:lvl8pPr marL="1942480" indent="-147592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8pPr>
      <a:lvl9pPr marL="2399534" indent="-147592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54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08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63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16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70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26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380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434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7">
          <p15:clr>
            <a:srgbClr val="F26B43"/>
          </p15:clr>
        </p15:guide>
        <p15:guide id="2" pos="394">
          <p15:clr>
            <a:srgbClr val="F26B43"/>
          </p15:clr>
        </p15:guide>
        <p15:guide id="3" orient="horz" pos="4109" userDrawn="1">
          <p15:clr>
            <a:srgbClr val="F26B43"/>
          </p15:clr>
        </p15:guide>
        <p15:guide id="4" pos="3426">
          <p15:clr>
            <a:srgbClr val="F26B43"/>
          </p15:clr>
        </p15:guide>
        <p15:guide id="5" pos="3306">
          <p15:clr>
            <a:srgbClr val="F26B43"/>
          </p15:clr>
        </p15:guide>
        <p15:guide id="6" pos="6341">
          <p15:clr>
            <a:srgbClr val="F26B43"/>
          </p15:clr>
        </p15:guide>
        <p15:guide id="7" orient="horz" pos="930">
          <p15:clr>
            <a:srgbClr val="F26B43"/>
          </p15:clr>
        </p15:guide>
        <p15:guide id="8" orient="horz" pos="76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7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image" Target="../media/image41.png"/><Relationship Id="rId7" Type="http://schemas.openxmlformats.org/officeDocument/2006/relationships/image" Target="../media/image45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10" Type="http://schemas.openxmlformats.org/officeDocument/2006/relationships/image" Target="../media/image48.png"/><Relationship Id="rId4" Type="http://schemas.openxmlformats.org/officeDocument/2006/relationships/image" Target="../media/image42.png"/><Relationship Id="rId9" Type="http://schemas.openxmlformats.org/officeDocument/2006/relationships/image" Target="../media/image4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5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5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61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jpeg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gif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6544566"/>
              </p:ext>
            </p:extLst>
          </p:nvPr>
        </p:nvGraphicFramePr>
        <p:xfrm>
          <a:off x="1359" y="1442"/>
          <a:ext cx="1358" cy="14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59" y="1442"/>
                        <a:ext cx="1358" cy="144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chine Learning A-Z™: Hands-On Python &amp; R In Data Scienc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Clustering: K-Means and Hierarchical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June 28, 2019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551969" y="4247441"/>
            <a:ext cx="4969073" cy="818814"/>
          </a:xfrm>
        </p:spPr>
        <p:txBody>
          <a:bodyPr/>
          <a:lstStyle/>
          <a:p>
            <a:r>
              <a:rPr lang="en-US" dirty="0"/>
              <a:t>Ariel Capetillo</a:t>
            </a:r>
          </a:p>
          <a:p>
            <a:r>
              <a:rPr lang="en-US" dirty="0"/>
              <a:t>Juan Carlos Urrutia</a:t>
            </a:r>
          </a:p>
        </p:txBody>
      </p:sp>
    </p:spTree>
    <p:extLst>
      <p:ext uri="{BB962C8B-B14F-4D97-AF65-F5344CB8AC3E}">
        <p14:creationId xmlns:p14="http://schemas.microsoft.com/office/powerpoint/2010/main" val="2544827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0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55575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35764" y="589797"/>
            <a:ext cx="8072469" cy="504174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K-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Means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in Python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D0E8FE3C-F958-4C34-A1B6-560C9C8131A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4880" y="1553472"/>
            <a:ext cx="6705600" cy="723900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B0207AEF-A7E3-4035-93DE-2F7BB386A3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4880" y="2561583"/>
            <a:ext cx="8266047" cy="2133582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3F3C1E1A-07BA-473D-8719-E30E12CD9AF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04322" y="1471465"/>
            <a:ext cx="5928086" cy="42041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3821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1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55575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30084" y="573408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kern="0" dirty="0">
                <a:solidFill>
                  <a:srgbClr val="EE2653"/>
                </a:solidFill>
                <a:latin typeface="Arial" panose="020B0604020202020204"/>
              </a:rPr>
              <a:t>K-</a:t>
            </a: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Means</a:t>
            </a:r>
            <a:r>
              <a:rPr lang="es-CL" kern="0" dirty="0">
                <a:solidFill>
                  <a:srgbClr val="EE2653"/>
                </a:solidFill>
                <a:latin typeface="Arial" panose="020B0604020202020204"/>
              </a:rPr>
              <a:t> 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in R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652EE0AD-9884-4163-BF84-5B050C3194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084" y="1582337"/>
            <a:ext cx="5172075" cy="1257300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7FD85F6B-A830-4D90-80F0-C1E01D5EEC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6219" y="3139045"/>
            <a:ext cx="7715250" cy="2514600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EF8F2646-6FFE-4D5E-A8DD-70D838786CE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87151" y="1447800"/>
            <a:ext cx="6237488" cy="4552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6250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2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55575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30084" y="573408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kern="0" dirty="0">
                <a:solidFill>
                  <a:srgbClr val="EE2653"/>
                </a:solidFill>
                <a:latin typeface="Arial" panose="020B0604020202020204"/>
              </a:rPr>
              <a:t>K-</a:t>
            </a: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Means</a:t>
            </a:r>
            <a:r>
              <a:rPr lang="es-CL" kern="0" dirty="0">
                <a:solidFill>
                  <a:srgbClr val="EE2653"/>
                </a:solidFill>
                <a:latin typeface="Arial" panose="020B0604020202020204"/>
              </a:rPr>
              <a:t> 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in R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DE01BB52-D276-4AEA-8278-D1558BA37BC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084" y="1534495"/>
            <a:ext cx="5753100" cy="1104900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BABC2E13-2220-4DD6-B00A-30F6AB0550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0084" y="2867617"/>
            <a:ext cx="6248400" cy="3228975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324680B9-B1DD-4F2B-874F-2DBFD29E6A0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42118" y="1467514"/>
            <a:ext cx="6248400" cy="4672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560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BC707768-50B6-4A47-9131-C0250561A1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3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C781EAA5-393B-495D-92FE-9CACE70FB5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5F3BF07-FB58-4934-A9F6-5934826722AE}"/>
              </a:ext>
            </a:extLst>
          </p:cNvPr>
          <p:cNvSpPr txBox="1">
            <a:spLocks/>
          </p:cNvSpPr>
          <p:nvPr/>
        </p:nvSpPr>
        <p:spPr>
          <a:xfrm>
            <a:off x="517360" y="519750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K-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Means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Quiz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1BD44F82-9B41-444D-A0D0-CC7242D17C8F}"/>
              </a:ext>
            </a:extLst>
          </p:cNvPr>
          <p:cNvSpPr/>
          <p:nvPr/>
        </p:nvSpPr>
        <p:spPr>
          <a:xfrm>
            <a:off x="132324" y="2551837"/>
            <a:ext cx="8879354" cy="175432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1" cap="none" spc="0" dirty="0" err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Let’s</a:t>
            </a:r>
            <a:r>
              <a:rPr lang="es-ES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 do a Quick Quiz</a:t>
            </a:r>
          </a:p>
          <a:p>
            <a:pPr algn="ctr"/>
            <a:r>
              <a:rPr lang="es-ES" sz="5400" b="1" dirty="0" err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About</a:t>
            </a:r>
            <a:r>
              <a:rPr lang="es-ES" sz="5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 K-</a:t>
            </a:r>
            <a:r>
              <a:rPr lang="es-ES" sz="5400" b="1" dirty="0" err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Means</a:t>
            </a:r>
            <a:r>
              <a:rPr lang="es-ES" sz="5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 Clustering</a:t>
            </a:r>
            <a:endParaRPr lang="es-E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64990076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BC707768-50B6-4A47-9131-C0250561A1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4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C781EAA5-393B-495D-92FE-9CACE70FB5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5F3BF07-FB58-4934-A9F6-5934826722AE}"/>
              </a:ext>
            </a:extLst>
          </p:cNvPr>
          <p:cNvSpPr txBox="1">
            <a:spLocks/>
          </p:cNvSpPr>
          <p:nvPr/>
        </p:nvSpPr>
        <p:spPr>
          <a:xfrm>
            <a:off x="517360" y="519750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Hierarchical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Clustering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0D6D8A9E-EF37-43A7-968E-78BA11BA2A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5800" y="2209800"/>
            <a:ext cx="3292640" cy="2895742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896E9B9F-5BF3-4C7F-BCAC-5BD6C40765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7700" y="2195241"/>
            <a:ext cx="7848600" cy="3154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518599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39554" y="572353"/>
            <a:ext cx="8072469" cy="709521"/>
          </a:xfrm>
        </p:spPr>
        <p:txBody>
          <a:bodyPr/>
          <a:lstStyle/>
          <a:p>
            <a:pPr algn="ctr"/>
            <a:r>
              <a:rPr lang="en-US" dirty="0"/>
              <a:t>Hierarchical Clustering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5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12" name="Rectángulo: esquinas redondeadas 4">
            <a:extLst>
              <a:ext uri="{FF2B5EF4-FFF2-40B4-BE49-F238E27FC236}">
                <a16:creationId xmlns:a16="http://schemas.microsoft.com/office/drawing/2014/main" id="{B4B79530-B4CC-4CFB-887D-8451491D01EA}"/>
              </a:ext>
            </a:extLst>
          </p:cNvPr>
          <p:cNvSpPr/>
          <p:nvPr/>
        </p:nvSpPr>
        <p:spPr bwMode="auto">
          <a:xfrm>
            <a:off x="1219149" y="2897685"/>
            <a:ext cx="5341122" cy="60147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400" kern="0" dirty="0" err="1"/>
              <a:t>Make</a:t>
            </a:r>
            <a:r>
              <a:rPr lang="es-CL" sz="1400" kern="0" dirty="0"/>
              <a:t> </a:t>
            </a:r>
            <a:r>
              <a:rPr lang="es-CL" sz="1400" kern="0" dirty="0" err="1"/>
              <a:t>each</a:t>
            </a:r>
            <a:r>
              <a:rPr lang="es-CL" sz="1400" kern="0" dirty="0"/>
              <a:t> data </a:t>
            </a:r>
            <a:r>
              <a:rPr lang="es-CL" sz="1400" kern="0" dirty="0" err="1"/>
              <a:t>point</a:t>
            </a:r>
            <a:r>
              <a:rPr lang="es-CL" sz="1400" kern="0" dirty="0"/>
              <a:t> a single-</a:t>
            </a:r>
            <a:r>
              <a:rPr lang="es-CL" sz="1400" kern="0" dirty="0" err="1"/>
              <a:t>point</a:t>
            </a:r>
            <a:r>
              <a:rPr lang="es-CL" sz="1400" kern="0" dirty="0"/>
              <a:t> </a:t>
            </a:r>
            <a:r>
              <a:rPr lang="es-CL" sz="1400" kern="0" dirty="0" err="1"/>
              <a:t>cluster</a:t>
            </a:r>
            <a:r>
              <a:rPr lang="es-CL" sz="1400" kern="0" dirty="0"/>
              <a:t> (</a:t>
            </a:r>
            <a:r>
              <a:rPr lang="es-CL" sz="1400" kern="0" dirty="0" err="1"/>
              <a:t>forming</a:t>
            </a:r>
            <a:r>
              <a:rPr lang="es-CL" sz="1400" kern="0" dirty="0"/>
              <a:t> N </a:t>
            </a:r>
            <a:r>
              <a:rPr lang="es-CL" sz="1400" kern="0" dirty="0" err="1"/>
              <a:t>clusters</a:t>
            </a:r>
            <a:r>
              <a:rPr lang="es-CL" sz="1400" kern="0" dirty="0"/>
              <a:t>)</a:t>
            </a:r>
            <a:endParaRPr lang="en-US" sz="1400" kern="0" dirty="0"/>
          </a:p>
        </p:txBody>
      </p:sp>
      <p:sp>
        <p:nvSpPr>
          <p:cNvPr id="16" name="Rectángulo 1">
            <a:extLst>
              <a:ext uri="{FF2B5EF4-FFF2-40B4-BE49-F238E27FC236}">
                <a16:creationId xmlns:a16="http://schemas.microsoft.com/office/drawing/2014/main" id="{242A5709-0D6F-4E92-8C06-B7E78C748FE1}"/>
              </a:ext>
            </a:extLst>
          </p:cNvPr>
          <p:cNvSpPr/>
          <p:nvPr/>
        </p:nvSpPr>
        <p:spPr>
          <a:xfrm>
            <a:off x="541895" y="2719170"/>
            <a:ext cx="569387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1</a:t>
            </a:r>
          </a:p>
        </p:txBody>
      </p:sp>
      <p:sp>
        <p:nvSpPr>
          <p:cNvPr id="17" name="Rectángulo: esquinas redondeadas 4">
            <a:extLst>
              <a:ext uri="{FF2B5EF4-FFF2-40B4-BE49-F238E27FC236}">
                <a16:creationId xmlns:a16="http://schemas.microsoft.com/office/drawing/2014/main" id="{B4B79530-B4CC-4CFB-887D-8451491D01EA}"/>
              </a:ext>
            </a:extLst>
          </p:cNvPr>
          <p:cNvSpPr/>
          <p:nvPr/>
        </p:nvSpPr>
        <p:spPr bwMode="auto">
          <a:xfrm>
            <a:off x="1219147" y="3805765"/>
            <a:ext cx="6331724" cy="60147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400" kern="0" dirty="0" err="1"/>
              <a:t>Take</a:t>
            </a:r>
            <a:r>
              <a:rPr lang="es-CL" sz="1400" kern="0" dirty="0"/>
              <a:t> </a:t>
            </a:r>
            <a:r>
              <a:rPr lang="es-CL" sz="1400" kern="0" dirty="0" err="1"/>
              <a:t>the</a:t>
            </a:r>
            <a:r>
              <a:rPr lang="es-CL" sz="1400" kern="0" dirty="0"/>
              <a:t> </a:t>
            </a:r>
            <a:r>
              <a:rPr lang="es-CL" sz="1400" kern="0" dirty="0" err="1"/>
              <a:t>two</a:t>
            </a:r>
            <a:r>
              <a:rPr lang="es-CL" sz="1400" kern="0" dirty="0"/>
              <a:t> </a:t>
            </a:r>
            <a:r>
              <a:rPr lang="es-CL" sz="1400" kern="0" dirty="0" err="1"/>
              <a:t>closest</a:t>
            </a:r>
            <a:r>
              <a:rPr lang="es-CL" sz="1400" kern="0" dirty="0"/>
              <a:t> data </a:t>
            </a:r>
            <a:r>
              <a:rPr lang="es-CL" sz="1400" kern="0" dirty="0" err="1"/>
              <a:t>points</a:t>
            </a:r>
            <a:r>
              <a:rPr lang="es-CL" sz="1400" kern="0" dirty="0"/>
              <a:t> and </a:t>
            </a:r>
            <a:r>
              <a:rPr lang="es-CL" sz="1400" kern="0" dirty="0" err="1"/>
              <a:t>make</a:t>
            </a:r>
            <a:r>
              <a:rPr lang="es-CL" sz="1400" kern="0" dirty="0"/>
              <a:t> </a:t>
            </a:r>
            <a:r>
              <a:rPr lang="es-CL" sz="1400" kern="0" dirty="0" err="1"/>
              <a:t>them</a:t>
            </a:r>
            <a:r>
              <a:rPr lang="es-CL" sz="1400" kern="0" dirty="0"/>
              <a:t> </a:t>
            </a:r>
            <a:r>
              <a:rPr lang="es-CL" sz="1400" kern="0" dirty="0" err="1"/>
              <a:t>one</a:t>
            </a:r>
            <a:r>
              <a:rPr lang="es-CL" sz="1400" kern="0" dirty="0"/>
              <a:t> </a:t>
            </a:r>
            <a:r>
              <a:rPr lang="es-CL" sz="1400" kern="0" dirty="0" err="1"/>
              <a:t>cluster</a:t>
            </a:r>
            <a:r>
              <a:rPr lang="es-CL" sz="1400" kern="0" dirty="0"/>
              <a:t> (N-1 </a:t>
            </a:r>
            <a:r>
              <a:rPr lang="es-CL" sz="1400" kern="0" dirty="0" err="1"/>
              <a:t>clusters</a:t>
            </a:r>
            <a:r>
              <a:rPr lang="es-CL" sz="1400" kern="0" dirty="0"/>
              <a:t>)</a:t>
            </a:r>
            <a:endParaRPr lang="en-US" sz="1400" kern="0" dirty="0"/>
          </a:p>
        </p:txBody>
      </p:sp>
      <p:sp>
        <p:nvSpPr>
          <p:cNvPr id="18" name="Rectángulo 1">
            <a:extLst>
              <a:ext uri="{FF2B5EF4-FFF2-40B4-BE49-F238E27FC236}">
                <a16:creationId xmlns:a16="http://schemas.microsoft.com/office/drawing/2014/main" id="{242A5709-0D6F-4E92-8C06-B7E78C748FE1}"/>
              </a:ext>
            </a:extLst>
          </p:cNvPr>
          <p:cNvSpPr/>
          <p:nvPr/>
        </p:nvSpPr>
        <p:spPr>
          <a:xfrm>
            <a:off x="545456" y="3655207"/>
            <a:ext cx="569388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2</a:t>
            </a:r>
          </a:p>
        </p:txBody>
      </p:sp>
      <p:sp>
        <p:nvSpPr>
          <p:cNvPr id="19" name="Rectángulo: esquinas redondeadas 4">
            <a:extLst>
              <a:ext uri="{FF2B5EF4-FFF2-40B4-BE49-F238E27FC236}">
                <a16:creationId xmlns:a16="http://schemas.microsoft.com/office/drawing/2014/main" id="{B4B79530-B4CC-4CFB-887D-8451491D01EA}"/>
              </a:ext>
            </a:extLst>
          </p:cNvPr>
          <p:cNvSpPr/>
          <p:nvPr/>
        </p:nvSpPr>
        <p:spPr bwMode="auto">
          <a:xfrm>
            <a:off x="1219148" y="4664008"/>
            <a:ext cx="6442818" cy="60147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400" kern="0" dirty="0" err="1"/>
              <a:t>Take</a:t>
            </a:r>
            <a:r>
              <a:rPr lang="es-CL" sz="1400" kern="0" dirty="0"/>
              <a:t> </a:t>
            </a:r>
            <a:r>
              <a:rPr lang="es-CL" sz="1400" kern="0" dirty="0" err="1"/>
              <a:t>the</a:t>
            </a:r>
            <a:r>
              <a:rPr lang="es-CL" sz="1400" kern="0" dirty="0"/>
              <a:t> </a:t>
            </a:r>
            <a:r>
              <a:rPr lang="es-CL" sz="1400" kern="0" dirty="0" err="1"/>
              <a:t>two</a:t>
            </a:r>
            <a:r>
              <a:rPr lang="es-CL" sz="1400" kern="0" dirty="0"/>
              <a:t> </a:t>
            </a:r>
            <a:r>
              <a:rPr lang="es-CL" sz="1400" kern="0" dirty="0" err="1"/>
              <a:t>closest</a:t>
            </a:r>
            <a:r>
              <a:rPr lang="es-CL" sz="1400" kern="0" dirty="0"/>
              <a:t> </a:t>
            </a:r>
            <a:r>
              <a:rPr lang="es-CL" sz="1400" kern="0" dirty="0" err="1"/>
              <a:t>clusters</a:t>
            </a:r>
            <a:r>
              <a:rPr lang="es-CL" sz="1400" kern="0" dirty="0"/>
              <a:t> and </a:t>
            </a:r>
            <a:r>
              <a:rPr lang="es-CL" sz="1400" kern="0" dirty="0" err="1"/>
              <a:t>make</a:t>
            </a:r>
            <a:r>
              <a:rPr lang="es-CL" sz="1400" kern="0" dirty="0"/>
              <a:t> </a:t>
            </a:r>
            <a:r>
              <a:rPr lang="es-CL" sz="1400" kern="0" dirty="0" err="1"/>
              <a:t>them</a:t>
            </a:r>
            <a:r>
              <a:rPr lang="es-CL" sz="1400" kern="0" dirty="0"/>
              <a:t> </a:t>
            </a:r>
            <a:r>
              <a:rPr lang="es-CL" sz="1400" kern="0" dirty="0" err="1"/>
              <a:t>one</a:t>
            </a:r>
            <a:r>
              <a:rPr lang="es-CL" sz="1400" kern="0" dirty="0"/>
              <a:t> </a:t>
            </a:r>
            <a:r>
              <a:rPr lang="es-CL" sz="1400" kern="0" dirty="0" err="1"/>
              <a:t>cluster</a:t>
            </a:r>
            <a:r>
              <a:rPr lang="es-CL" sz="1400" kern="0" dirty="0"/>
              <a:t> (N-2 </a:t>
            </a:r>
            <a:r>
              <a:rPr lang="es-CL" sz="1400" kern="0" dirty="0" err="1"/>
              <a:t>clusters</a:t>
            </a:r>
            <a:r>
              <a:rPr lang="es-CL" sz="1400" kern="0" dirty="0"/>
              <a:t>)</a:t>
            </a:r>
            <a:endParaRPr lang="en-US" sz="1400" kern="0" dirty="0"/>
          </a:p>
        </p:txBody>
      </p:sp>
      <p:sp>
        <p:nvSpPr>
          <p:cNvPr id="20" name="Rectángulo 1">
            <a:extLst>
              <a:ext uri="{FF2B5EF4-FFF2-40B4-BE49-F238E27FC236}">
                <a16:creationId xmlns:a16="http://schemas.microsoft.com/office/drawing/2014/main" id="{242A5709-0D6F-4E92-8C06-B7E78C748FE1}"/>
              </a:ext>
            </a:extLst>
          </p:cNvPr>
          <p:cNvSpPr/>
          <p:nvPr/>
        </p:nvSpPr>
        <p:spPr>
          <a:xfrm>
            <a:off x="545456" y="4513450"/>
            <a:ext cx="569388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3</a:t>
            </a:r>
          </a:p>
        </p:txBody>
      </p:sp>
      <p:sp>
        <p:nvSpPr>
          <p:cNvPr id="21" name="Rectángulo: esquinas redondeadas 4">
            <a:extLst>
              <a:ext uri="{FF2B5EF4-FFF2-40B4-BE49-F238E27FC236}">
                <a16:creationId xmlns:a16="http://schemas.microsoft.com/office/drawing/2014/main" id="{B4B79530-B4CC-4CFB-887D-8451491D01EA}"/>
              </a:ext>
            </a:extLst>
          </p:cNvPr>
          <p:cNvSpPr/>
          <p:nvPr/>
        </p:nvSpPr>
        <p:spPr bwMode="auto">
          <a:xfrm>
            <a:off x="1224994" y="5599551"/>
            <a:ext cx="4116078" cy="60147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400" kern="0" dirty="0" err="1"/>
              <a:t>Repeat</a:t>
            </a:r>
            <a:r>
              <a:rPr lang="es-CL" sz="1400" kern="0" dirty="0"/>
              <a:t> step </a:t>
            </a:r>
            <a:r>
              <a:rPr lang="es-CL" sz="1400" kern="0" dirty="0" err="1"/>
              <a:t>three</a:t>
            </a:r>
            <a:r>
              <a:rPr lang="es-CL" sz="1400" kern="0" dirty="0"/>
              <a:t> </a:t>
            </a:r>
            <a:r>
              <a:rPr lang="es-CL" sz="1400" kern="0" dirty="0" err="1"/>
              <a:t>until</a:t>
            </a:r>
            <a:r>
              <a:rPr lang="es-CL" sz="1400" kern="0" dirty="0"/>
              <a:t> </a:t>
            </a:r>
            <a:r>
              <a:rPr lang="es-CL" sz="1400" kern="0" dirty="0" err="1"/>
              <a:t>there</a:t>
            </a:r>
            <a:r>
              <a:rPr lang="es-CL" sz="1400" kern="0" dirty="0"/>
              <a:t> is </a:t>
            </a:r>
            <a:r>
              <a:rPr lang="es-CL" sz="1400" kern="0" dirty="0" err="1"/>
              <a:t>only</a:t>
            </a:r>
            <a:r>
              <a:rPr lang="es-CL" sz="1400" kern="0" dirty="0"/>
              <a:t> </a:t>
            </a:r>
            <a:r>
              <a:rPr lang="es-CL" sz="1400" kern="0" dirty="0" err="1"/>
              <a:t>one</a:t>
            </a:r>
            <a:r>
              <a:rPr lang="es-CL" sz="1400" kern="0" dirty="0"/>
              <a:t> </a:t>
            </a:r>
            <a:r>
              <a:rPr lang="es-CL" sz="1400" kern="0" dirty="0" err="1"/>
              <a:t>cluster</a:t>
            </a:r>
            <a:endParaRPr lang="en-US" sz="1400" kern="0" dirty="0"/>
          </a:p>
        </p:txBody>
      </p:sp>
      <p:sp>
        <p:nvSpPr>
          <p:cNvPr id="22" name="Rectángulo 1">
            <a:extLst>
              <a:ext uri="{FF2B5EF4-FFF2-40B4-BE49-F238E27FC236}">
                <a16:creationId xmlns:a16="http://schemas.microsoft.com/office/drawing/2014/main" id="{242A5709-0D6F-4E92-8C06-B7E78C748FE1}"/>
              </a:ext>
            </a:extLst>
          </p:cNvPr>
          <p:cNvSpPr/>
          <p:nvPr/>
        </p:nvSpPr>
        <p:spPr>
          <a:xfrm>
            <a:off x="541895" y="5332021"/>
            <a:ext cx="569388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4</a:t>
            </a:r>
            <a:endParaRPr lang="es-E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sp>
        <p:nvSpPr>
          <p:cNvPr id="24" name="Rectángulo 23">
            <a:extLst>
              <a:ext uri="{FF2B5EF4-FFF2-40B4-BE49-F238E27FC236}">
                <a16:creationId xmlns:a16="http://schemas.microsoft.com/office/drawing/2014/main" id="{D3A48F66-1047-4364-B346-8BEB788049CA}"/>
              </a:ext>
            </a:extLst>
          </p:cNvPr>
          <p:cNvSpPr/>
          <p:nvPr/>
        </p:nvSpPr>
        <p:spPr>
          <a:xfrm>
            <a:off x="539554" y="1343490"/>
            <a:ext cx="7924800" cy="1200329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s-ES" sz="3600" b="1" dirty="0" err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There</a:t>
            </a:r>
            <a:r>
              <a:rPr lang="es-ES" sz="3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 are </a:t>
            </a:r>
            <a:r>
              <a:rPr lang="es-ES" sz="3600" b="1" dirty="0" err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two</a:t>
            </a:r>
            <a:r>
              <a:rPr lang="es-ES" sz="3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 </a:t>
            </a:r>
            <a:r>
              <a:rPr lang="es-ES" sz="3600" b="1" dirty="0" err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types</a:t>
            </a:r>
            <a:r>
              <a:rPr lang="es-ES" sz="3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: </a:t>
            </a:r>
          </a:p>
          <a:p>
            <a:r>
              <a:rPr lang="es-ES" sz="3600" b="1" dirty="0" err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Agglomerative</a:t>
            </a:r>
            <a:r>
              <a:rPr lang="es-ES" sz="3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 (and </a:t>
            </a:r>
            <a:r>
              <a:rPr lang="es-ES" sz="3600" b="1" dirty="0" err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Divisive</a:t>
            </a:r>
            <a:r>
              <a:rPr lang="es-ES" sz="3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)</a:t>
            </a:r>
            <a:endParaRPr lang="es-ES" sz="36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sp>
        <p:nvSpPr>
          <p:cNvPr id="25" name="Rectángulo: esquinas redondeadas 4">
            <a:extLst>
              <a:ext uri="{FF2B5EF4-FFF2-40B4-BE49-F238E27FC236}">
                <a16:creationId xmlns:a16="http://schemas.microsoft.com/office/drawing/2014/main" id="{C5264EA1-B155-43C7-8C37-2FEFF9327F1C}"/>
              </a:ext>
            </a:extLst>
          </p:cNvPr>
          <p:cNvSpPr/>
          <p:nvPr/>
        </p:nvSpPr>
        <p:spPr bwMode="auto">
          <a:xfrm>
            <a:off x="7086600" y="2321147"/>
            <a:ext cx="1905000" cy="849047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400" kern="0" dirty="0" err="1"/>
              <a:t>One</a:t>
            </a:r>
            <a:r>
              <a:rPr lang="es-CL" sz="1400" kern="0" dirty="0"/>
              <a:t> is </a:t>
            </a:r>
            <a:r>
              <a:rPr lang="es-CL" sz="1400" kern="0" dirty="0" err="1"/>
              <a:t>the</a:t>
            </a:r>
            <a:r>
              <a:rPr lang="es-CL" sz="1400" kern="0" dirty="0"/>
              <a:t> </a:t>
            </a:r>
            <a:r>
              <a:rPr lang="es-CL" sz="1400" kern="0" dirty="0" err="1"/>
              <a:t>opposite</a:t>
            </a:r>
            <a:r>
              <a:rPr lang="es-CL" sz="1400" kern="0" dirty="0"/>
              <a:t> </a:t>
            </a:r>
            <a:r>
              <a:rPr lang="es-CL" sz="1400" kern="0" dirty="0" err="1"/>
              <a:t>of</a:t>
            </a:r>
            <a:r>
              <a:rPr lang="es-CL" sz="1400" kern="0" dirty="0"/>
              <a:t> </a:t>
            </a:r>
            <a:r>
              <a:rPr lang="es-CL" sz="1400" kern="0" dirty="0" err="1"/>
              <a:t>the</a:t>
            </a:r>
            <a:r>
              <a:rPr lang="es-CL" sz="1400" kern="0" dirty="0"/>
              <a:t> </a:t>
            </a:r>
            <a:r>
              <a:rPr lang="es-CL" sz="1400" kern="0" dirty="0" err="1"/>
              <a:t>other</a:t>
            </a:r>
            <a:endParaRPr lang="en-US" sz="1400" kern="0" dirty="0"/>
          </a:p>
        </p:txBody>
      </p:sp>
      <p:sp>
        <p:nvSpPr>
          <p:cNvPr id="26" name="Flecha: doblada 25">
            <a:extLst>
              <a:ext uri="{FF2B5EF4-FFF2-40B4-BE49-F238E27FC236}">
                <a16:creationId xmlns:a16="http://schemas.microsoft.com/office/drawing/2014/main" id="{1296C3E9-BDE2-4F3B-BD23-817B1335EB58}"/>
              </a:ext>
            </a:extLst>
          </p:cNvPr>
          <p:cNvSpPr/>
          <p:nvPr/>
        </p:nvSpPr>
        <p:spPr bwMode="auto">
          <a:xfrm rot="20843633">
            <a:off x="242246" y="4835824"/>
            <a:ext cx="390687" cy="1201911"/>
          </a:xfrm>
          <a:prstGeom prst="bentArrow">
            <a:avLst/>
          </a:prstGeom>
          <a:ln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7" name="Rectángulo: esquinas redondeadas 4">
            <a:extLst>
              <a:ext uri="{FF2B5EF4-FFF2-40B4-BE49-F238E27FC236}">
                <a16:creationId xmlns:a16="http://schemas.microsoft.com/office/drawing/2014/main" id="{B2B398AE-65CD-4962-84B3-F20A4FA9C371}"/>
              </a:ext>
            </a:extLst>
          </p:cNvPr>
          <p:cNvSpPr/>
          <p:nvPr/>
        </p:nvSpPr>
        <p:spPr bwMode="auto">
          <a:xfrm>
            <a:off x="5749190" y="5406304"/>
            <a:ext cx="1905000" cy="849047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400" kern="0" dirty="0" err="1"/>
              <a:t>Let’s</a:t>
            </a:r>
            <a:r>
              <a:rPr lang="es-CL" sz="1400" kern="0" dirty="0"/>
              <a:t> </a:t>
            </a:r>
            <a:r>
              <a:rPr lang="es-CL" sz="1400" kern="0" dirty="0" err="1"/>
              <a:t>see</a:t>
            </a:r>
            <a:r>
              <a:rPr lang="es-CL" sz="1400" kern="0" dirty="0"/>
              <a:t> </a:t>
            </a:r>
            <a:r>
              <a:rPr lang="es-CL" sz="1400" kern="0" dirty="0" err="1"/>
              <a:t>this</a:t>
            </a:r>
            <a:r>
              <a:rPr lang="es-CL" sz="1400" kern="0" dirty="0"/>
              <a:t> in </a:t>
            </a:r>
            <a:r>
              <a:rPr lang="es-CL" sz="1400" kern="0" dirty="0" err="1"/>
              <a:t>the</a:t>
            </a:r>
            <a:r>
              <a:rPr lang="es-CL" sz="1400" kern="0" dirty="0"/>
              <a:t> </a:t>
            </a:r>
            <a:r>
              <a:rPr lang="es-CL" sz="1400" kern="0" dirty="0" err="1"/>
              <a:t>whiteboard</a:t>
            </a:r>
            <a:endParaRPr lang="en-US" sz="1400" kern="0" dirty="0"/>
          </a:p>
        </p:txBody>
      </p:sp>
    </p:spTree>
    <p:extLst>
      <p:ext uri="{BB962C8B-B14F-4D97-AF65-F5344CB8AC3E}">
        <p14:creationId xmlns:p14="http://schemas.microsoft.com/office/powerpoint/2010/main" val="4074802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6" grpId="0"/>
      <p:bldP spid="17" grpId="0" animBg="1"/>
      <p:bldP spid="18" grpId="0"/>
      <p:bldP spid="19" grpId="0" animBg="1"/>
      <p:bldP spid="20" grpId="0"/>
      <p:bldP spid="21" grpId="0" animBg="1"/>
      <p:bldP spid="22" grpId="0"/>
      <p:bldP spid="26" grpId="0" animBg="1"/>
      <p:bldP spid="27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BC707768-50B6-4A47-9131-C0250561A1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6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C781EAA5-393B-495D-92FE-9CACE70FB5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5F3BF07-FB58-4934-A9F6-5934826722AE}"/>
              </a:ext>
            </a:extLst>
          </p:cNvPr>
          <p:cNvSpPr txBox="1">
            <a:spLocks/>
          </p:cNvSpPr>
          <p:nvPr/>
        </p:nvSpPr>
        <p:spPr>
          <a:xfrm>
            <a:off x="517360" y="519750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Dendograms</a:t>
            </a:r>
            <a:endParaRPr lang="es-CL" kern="0" dirty="0">
              <a:solidFill>
                <a:srgbClr val="EE2653"/>
              </a:solidFill>
              <a:latin typeface="Arial" panose="020B0604020202020204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And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how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do</a:t>
            </a:r>
            <a:r>
              <a:rPr kumimoji="0" lang="es-CL" sz="2100" b="0" i="0" u="none" strike="noStrike" kern="0" cap="none" spc="0" normalizeH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</a:t>
            </a:r>
            <a:r>
              <a:rPr kumimoji="0" lang="es-CL" sz="2100" b="0" i="0" u="none" strike="noStrike" kern="0" cap="none" spc="0" normalizeH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they</a:t>
            </a:r>
            <a:r>
              <a:rPr kumimoji="0" lang="es-CL" sz="2100" b="0" i="0" u="none" strike="noStrike" kern="0" cap="none" spc="0" normalizeH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</a:t>
            </a:r>
            <a:r>
              <a:rPr kumimoji="0" lang="es-CL" sz="2100" b="0" i="0" u="none" strike="noStrike" kern="0" cap="none" spc="0" normalizeH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work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B0EC0E0F-98E6-40FB-8FFB-52AD35803E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8794" y="1770604"/>
            <a:ext cx="8229600" cy="3316792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624B1060-A38E-4A22-BB27-F84B8013E7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563509"/>
            <a:ext cx="9144000" cy="3730981"/>
          </a:xfrm>
          <a:prstGeom prst="rect">
            <a:avLst/>
          </a:prstGeom>
        </p:spPr>
      </p:pic>
      <p:sp>
        <p:nvSpPr>
          <p:cNvPr id="10" name="Rectángulo: esquinas redondeadas 4">
            <a:extLst>
              <a:ext uri="{FF2B5EF4-FFF2-40B4-BE49-F238E27FC236}">
                <a16:creationId xmlns:a16="http://schemas.microsoft.com/office/drawing/2014/main" id="{155825FF-7B81-4145-B4B7-64420A6CAE4D}"/>
              </a:ext>
            </a:extLst>
          </p:cNvPr>
          <p:cNvSpPr/>
          <p:nvPr/>
        </p:nvSpPr>
        <p:spPr bwMode="auto">
          <a:xfrm>
            <a:off x="4772252" y="5382537"/>
            <a:ext cx="3817577" cy="637264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r>
              <a:rPr lang="es-CL" sz="1400" kern="0" dirty="0" err="1"/>
              <a:t>Remember</a:t>
            </a:r>
            <a:r>
              <a:rPr lang="es-CL" sz="1400" kern="0" dirty="0"/>
              <a:t>: The </a:t>
            </a:r>
            <a:r>
              <a:rPr lang="es-CL" sz="1400" kern="0" dirty="0" err="1"/>
              <a:t>highness</a:t>
            </a:r>
            <a:r>
              <a:rPr lang="es-CL" sz="1400" kern="0" dirty="0"/>
              <a:t> </a:t>
            </a:r>
            <a:r>
              <a:rPr lang="es-CL" sz="1400" kern="0" dirty="0" err="1"/>
              <a:t>represents</a:t>
            </a:r>
            <a:r>
              <a:rPr lang="es-CL" sz="1400" kern="0" dirty="0"/>
              <a:t> </a:t>
            </a:r>
            <a:r>
              <a:rPr lang="es-CL" sz="1400" kern="0" dirty="0" err="1"/>
              <a:t>the</a:t>
            </a:r>
            <a:r>
              <a:rPr lang="es-CL" sz="1400" kern="0" dirty="0"/>
              <a:t> </a:t>
            </a:r>
            <a:r>
              <a:rPr lang="es-CL" sz="1400" kern="0" dirty="0" err="1"/>
              <a:t>dissimilarity</a:t>
            </a:r>
            <a:r>
              <a:rPr lang="es-CL" sz="1400" kern="0" dirty="0"/>
              <a:t> </a:t>
            </a:r>
            <a:endParaRPr lang="en-US" sz="1400" kern="0" dirty="0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531AA946-DDB6-477B-ADC2-45EF3AA9F1F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591118"/>
            <a:ext cx="9144000" cy="3675764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7B9132B5-5342-46FB-8546-A8DFC98741C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620689"/>
            <a:ext cx="9144000" cy="3616621"/>
          </a:xfrm>
          <a:prstGeom prst="rect">
            <a:avLst/>
          </a:prstGeom>
        </p:spPr>
      </p:pic>
      <p:pic>
        <p:nvPicPr>
          <p:cNvPr id="13" name="Imagen 12">
            <a:extLst>
              <a:ext uri="{FF2B5EF4-FFF2-40B4-BE49-F238E27FC236}">
                <a16:creationId xmlns:a16="http://schemas.microsoft.com/office/drawing/2014/main" id="{476DEA64-5AAD-41DA-9190-D0963C58FF8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1654238"/>
            <a:ext cx="9144000" cy="3620394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1BAC474C-5263-408A-A258-B9ACD9D0A64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1633112"/>
            <a:ext cx="9144000" cy="3591775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35D980A1-B91A-437F-B91D-8BD318D4053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0" y="1680812"/>
            <a:ext cx="9144000" cy="3496376"/>
          </a:xfrm>
          <a:prstGeom prst="rect">
            <a:avLst/>
          </a:prstGeom>
        </p:spPr>
      </p:pic>
      <p:pic>
        <p:nvPicPr>
          <p:cNvPr id="17" name="Imagen 16">
            <a:extLst>
              <a:ext uri="{FF2B5EF4-FFF2-40B4-BE49-F238E27FC236}">
                <a16:creationId xmlns:a16="http://schemas.microsoft.com/office/drawing/2014/main" id="{EC27EA67-53FA-4C65-8D36-C1DE4A70F12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0" y="1736285"/>
            <a:ext cx="9144000" cy="3385429"/>
          </a:xfrm>
          <a:prstGeom prst="rect">
            <a:avLst/>
          </a:prstGeom>
        </p:spPr>
      </p:pic>
      <p:pic>
        <p:nvPicPr>
          <p:cNvPr id="18" name="Imagen 17">
            <a:extLst>
              <a:ext uri="{FF2B5EF4-FFF2-40B4-BE49-F238E27FC236}">
                <a16:creationId xmlns:a16="http://schemas.microsoft.com/office/drawing/2014/main" id="{CF27A6AD-BE11-4DF8-B859-B6C33EFD97D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0" y="1706459"/>
            <a:ext cx="9144000" cy="3445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445289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ángulo: esquinas redondeadas 4">
            <a:extLst>
              <a:ext uri="{FF2B5EF4-FFF2-40B4-BE49-F238E27FC236}">
                <a16:creationId xmlns:a16="http://schemas.microsoft.com/office/drawing/2014/main" id="{92AC78D5-CC8D-4A98-A023-081B619C2F35}"/>
              </a:ext>
            </a:extLst>
          </p:cNvPr>
          <p:cNvSpPr/>
          <p:nvPr/>
        </p:nvSpPr>
        <p:spPr bwMode="auto">
          <a:xfrm>
            <a:off x="6647677" y="3731136"/>
            <a:ext cx="2238148" cy="969887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r>
              <a:rPr lang="es-CL" sz="1400" kern="0" dirty="0" err="1"/>
              <a:t>What</a:t>
            </a:r>
            <a:r>
              <a:rPr lang="es-CL" sz="1400" kern="0" dirty="0"/>
              <a:t> is Ward?</a:t>
            </a:r>
          </a:p>
          <a:p>
            <a:r>
              <a:rPr lang="es-CL" sz="1400" kern="0" dirty="0" err="1"/>
              <a:t>Hint</a:t>
            </a:r>
            <a:r>
              <a:rPr lang="es-CL" sz="1400" kern="0" dirty="0"/>
              <a:t>: </a:t>
            </a:r>
            <a:r>
              <a:rPr lang="es-CL" sz="1400" kern="0" dirty="0" err="1"/>
              <a:t>Perform</a:t>
            </a:r>
            <a:r>
              <a:rPr lang="es-CL" sz="1400" kern="0" dirty="0"/>
              <a:t> a similar </a:t>
            </a:r>
            <a:r>
              <a:rPr lang="es-CL" sz="1400" kern="0" dirty="0" err="1"/>
              <a:t>job</a:t>
            </a:r>
            <a:r>
              <a:rPr lang="es-CL" sz="1400" kern="0" dirty="0"/>
              <a:t> </a:t>
            </a:r>
            <a:r>
              <a:rPr lang="es-CL" sz="1400" kern="0" dirty="0" err="1"/>
              <a:t>than</a:t>
            </a:r>
            <a:r>
              <a:rPr lang="es-CL" sz="1400" kern="0" dirty="0"/>
              <a:t> WCSS</a:t>
            </a:r>
            <a:endParaRPr lang="en-US" sz="1400" kern="0" dirty="0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7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55575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39554" y="588733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HC in Python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78D48D1E-47F4-4896-9C27-7B68A77D75F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268" y="1476375"/>
            <a:ext cx="4210050" cy="1952625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38B0A3E3-666E-4C87-90E3-BC2FDE0FBF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16425" y="1476375"/>
            <a:ext cx="4462505" cy="1952625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AA73A1E1-C1BF-4997-AA84-19E08EE9EDB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5575" y="3607121"/>
            <a:ext cx="5876925" cy="1419225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64FA6CFD-107D-4EF8-8BCF-F3E15E7BCB2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24626" y="1476375"/>
            <a:ext cx="6494748" cy="46059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4420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8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55575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39554" y="588733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HC in Python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5BDB244A-16E9-4A63-89E3-53B7F4242F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5839" y="1576388"/>
            <a:ext cx="7820025" cy="847725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104DAA4A-8409-4C17-9D9B-FD93D40D73D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9554" y="2702247"/>
            <a:ext cx="8382000" cy="2152650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49B08F84-8143-4CF2-9EDA-4526615F98F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61680" y="1465891"/>
            <a:ext cx="5820639" cy="4127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0106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9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55575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39554" y="588733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HC in R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8B33E580-0904-4A20-9600-0F99D61945C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5575" y="1703709"/>
            <a:ext cx="5381625" cy="1285875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F0E3D5AE-1361-4371-B4CB-5001F0D459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5575" y="3528269"/>
            <a:ext cx="8356082" cy="1267045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340DB718-BF3D-40FD-82A9-BE95FC23E7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19149" y="1189038"/>
            <a:ext cx="6739751" cy="5040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4102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44880" y="557476"/>
            <a:ext cx="8072469" cy="709521"/>
          </a:xfrm>
        </p:spPr>
        <p:txBody>
          <a:bodyPr/>
          <a:lstStyle/>
          <a:p>
            <a:r>
              <a:rPr lang="en-GB" dirty="0"/>
              <a:t>Contents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©2017 </a:t>
            </a:r>
            <a:r>
              <a:rPr lang="en-US" dirty="0" err="1"/>
              <a:t>Evalueserve</a:t>
            </a:r>
            <a:r>
              <a:rPr lang="en-US" dirty="0"/>
              <a:t>. All rights reserved.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>
          <a:xfrm>
            <a:off x="544880" y="6335820"/>
            <a:ext cx="1348537" cy="180001"/>
          </a:xfrm>
        </p:spPr>
        <p:txBody>
          <a:bodyPr/>
          <a:lstStyle/>
          <a:p>
            <a:fld id="{E20330FD-FE2A-483E-B0C7-29AD7FB3CAEB}" type="slidenum">
              <a:rPr lang="en-GB" smtClean="0"/>
              <a:pPr/>
              <a:t>2</a:t>
            </a:fld>
            <a:r>
              <a:rPr lang="en-GB" dirty="0"/>
              <a:t> /  evalueserve.com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6671112"/>
              </p:ext>
            </p:extLst>
          </p:nvPr>
        </p:nvGraphicFramePr>
        <p:xfrm>
          <a:off x="548432" y="1307373"/>
          <a:ext cx="3861372" cy="2669270"/>
        </p:xfrm>
        <a:graphic>
          <a:graphicData uri="http://schemas.openxmlformats.org/drawingml/2006/table">
            <a:tbl>
              <a:tblPr firstRow="1" bandRow="1"/>
              <a:tblGrid>
                <a:gridCol w="54904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685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19547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 dirty="0">
                          <a:solidFill>
                            <a:srgbClr val="EE2653"/>
                          </a:solidFill>
                          <a:latin typeface="+mj-lt"/>
                        </a:rPr>
                        <a:t>01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Introduction to Clustering</a:t>
                      </a: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>
                          <a:solidFill>
                            <a:schemeClr val="accent2"/>
                          </a:solidFill>
                          <a:latin typeface="+mj-lt"/>
                        </a:rPr>
                        <a:t>02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7C6C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7C6C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3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K</a:t>
                      </a:r>
                      <a:r>
                        <a:rPr lang="en-US" sz="13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-Means Clustering</a:t>
                      </a: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>
                          <a:solidFill>
                            <a:srgbClr val="47254B"/>
                          </a:solidFill>
                          <a:latin typeface="+mj-lt"/>
                        </a:rPr>
                        <a:t>03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4725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4725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3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K-</a:t>
                      </a:r>
                      <a:r>
                        <a:rPr lang="es-CL" sz="1300" b="0" noProof="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Means</a:t>
                      </a:r>
                      <a:r>
                        <a:rPr lang="es-CL" sz="13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 in Python</a:t>
                      </a:r>
                      <a:endParaRPr lang="en-US" sz="1300" b="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>
                          <a:solidFill>
                            <a:srgbClr val="EE2653"/>
                          </a:solidFill>
                          <a:latin typeface="+mj-lt"/>
                        </a:rPr>
                        <a:t>04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3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K-</a:t>
                      </a:r>
                      <a:r>
                        <a:rPr lang="es-CL" sz="1300" b="0" noProof="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Means</a:t>
                      </a:r>
                      <a:r>
                        <a:rPr lang="es-CL" sz="13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 in R</a:t>
                      </a:r>
                      <a:endParaRPr lang="en-US" sz="1300" b="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 dirty="0">
                          <a:solidFill>
                            <a:schemeClr val="accent2"/>
                          </a:solidFill>
                          <a:latin typeface="+mj-lt"/>
                        </a:rPr>
                        <a:t>05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7C6C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7C6C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3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Quiz: K-</a:t>
                      </a:r>
                      <a:r>
                        <a:rPr lang="es-CL" sz="1300" b="0" noProof="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Means</a:t>
                      </a:r>
                      <a:endParaRPr lang="en-US" sz="1300" b="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4" name="Tabla 3">
            <a:extLst>
              <a:ext uri="{FF2B5EF4-FFF2-40B4-BE49-F238E27FC236}">
                <a16:creationId xmlns:a16="http://schemas.microsoft.com/office/drawing/2014/main" id="{BFA293D0-210C-4354-BB5D-E6F1D669A5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9589554"/>
              </p:ext>
            </p:extLst>
          </p:nvPr>
        </p:nvGraphicFramePr>
        <p:xfrm>
          <a:off x="548432" y="3976643"/>
          <a:ext cx="3861372" cy="533854"/>
        </p:xfrm>
        <a:graphic>
          <a:graphicData uri="http://schemas.openxmlformats.org/drawingml/2006/table">
            <a:tbl>
              <a:tblPr firstRow="1" bandRow="1"/>
              <a:tblGrid>
                <a:gridCol w="549045">
                  <a:extLst>
                    <a:ext uri="{9D8B030D-6E8A-4147-A177-3AD203B41FA5}">
                      <a16:colId xmlns:a16="http://schemas.microsoft.com/office/drawing/2014/main" val="2331290239"/>
                    </a:ext>
                  </a:extLst>
                </a:gridCol>
                <a:gridCol w="116857">
                  <a:extLst>
                    <a:ext uri="{9D8B030D-6E8A-4147-A177-3AD203B41FA5}">
                      <a16:colId xmlns:a16="http://schemas.microsoft.com/office/drawing/2014/main" val="2966098500"/>
                    </a:ext>
                  </a:extLst>
                </a:gridCol>
                <a:gridCol w="3195470">
                  <a:extLst>
                    <a:ext uri="{9D8B030D-6E8A-4147-A177-3AD203B41FA5}">
                      <a16:colId xmlns:a16="http://schemas.microsoft.com/office/drawing/2014/main" val="154611114"/>
                    </a:ext>
                  </a:extLst>
                </a:gridCol>
              </a:tblGrid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 dirty="0">
                          <a:solidFill>
                            <a:srgbClr val="47254B"/>
                          </a:solidFill>
                          <a:latin typeface="+mj-lt"/>
                        </a:rPr>
                        <a:t>06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4725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4725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300" b="0" noProof="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Hierarchical</a:t>
                      </a:r>
                      <a:r>
                        <a:rPr lang="es-CL" sz="13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 Clustering (HC)</a:t>
                      </a:r>
                      <a:endParaRPr lang="en-US" sz="1300" b="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72232170"/>
                  </a:ext>
                </a:extLst>
              </a:tr>
            </a:tbl>
          </a:graphicData>
        </a:graphic>
      </p:graphicFrame>
      <p:graphicFrame>
        <p:nvGraphicFramePr>
          <p:cNvPr id="11" name="Tabla 10">
            <a:extLst>
              <a:ext uri="{FF2B5EF4-FFF2-40B4-BE49-F238E27FC236}">
                <a16:creationId xmlns:a16="http://schemas.microsoft.com/office/drawing/2014/main" id="{DFF45B44-ED80-4ECF-8BCE-CCD3F0C60F7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8972264"/>
              </p:ext>
            </p:extLst>
          </p:nvPr>
        </p:nvGraphicFramePr>
        <p:xfrm>
          <a:off x="548432" y="4531751"/>
          <a:ext cx="3861372" cy="1067708"/>
        </p:xfrm>
        <a:graphic>
          <a:graphicData uri="http://schemas.openxmlformats.org/drawingml/2006/table">
            <a:tbl>
              <a:tblPr firstRow="1" bandRow="1"/>
              <a:tblGrid>
                <a:gridCol w="549045">
                  <a:extLst>
                    <a:ext uri="{9D8B030D-6E8A-4147-A177-3AD203B41FA5}">
                      <a16:colId xmlns:a16="http://schemas.microsoft.com/office/drawing/2014/main" val="4128062449"/>
                    </a:ext>
                  </a:extLst>
                </a:gridCol>
                <a:gridCol w="116857">
                  <a:extLst>
                    <a:ext uri="{9D8B030D-6E8A-4147-A177-3AD203B41FA5}">
                      <a16:colId xmlns:a16="http://schemas.microsoft.com/office/drawing/2014/main" val="2819113815"/>
                    </a:ext>
                  </a:extLst>
                </a:gridCol>
                <a:gridCol w="3195470">
                  <a:extLst>
                    <a:ext uri="{9D8B030D-6E8A-4147-A177-3AD203B41FA5}">
                      <a16:colId xmlns:a16="http://schemas.microsoft.com/office/drawing/2014/main" val="3695751838"/>
                    </a:ext>
                  </a:extLst>
                </a:gridCol>
              </a:tblGrid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 dirty="0">
                          <a:solidFill>
                            <a:srgbClr val="EE2653"/>
                          </a:solidFill>
                          <a:latin typeface="+mj-lt"/>
                        </a:rPr>
                        <a:t>07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300" b="0" kern="12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/>
                          <a:ea typeface=""/>
                          <a:cs typeface=""/>
                        </a:rPr>
                        <a:t>HC in Python</a:t>
                      </a:r>
                      <a:endParaRPr lang="en-US" sz="1300" b="0" kern="12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/>
                        <a:ea typeface=""/>
                        <a:cs typeface="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3076901"/>
                  </a:ext>
                </a:extLst>
              </a:tr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 dirty="0">
                          <a:solidFill>
                            <a:schemeClr val="accent2"/>
                          </a:solidFill>
                          <a:latin typeface="+mj-lt"/>
                        </a:rPr>
                        <a:t>08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7C6C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7C6C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300" b="0" kern="12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/>
                          <a:ea typeface=""/>
                          <a:cs typeface=""/>
                        </a:rPr>
                        <a:t>HC in R</a:t>
                      </a:r>
                      <a:endParaRPr lang="en-US" sz="1300" b="0" kern="12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/>
                        <a:ea typeface=""/>
                        <a:cs typeface="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3125652"/>
                  </a:ext>
                </a:extLst>
              </a:tr>
            </a:tbl>
          </a:graphicData>
        </a:graphic>
      </p:graphicFrame>
      <p:graphicFrame>
        <p:nvGraphicFramePr>
          <p:cNvPr id="15" name="Tabla 14">
            <a:extLst>
              <a:ext uri="{FF2B5EF4-FFF2-40B4-BE49-F238E27FC236}">
                <a16:creationId xmlns:a16="http://schemas.microsoft.com/office/drawing/2014/main" id="{FD2E1A8A-48E6-42FD-B4E2-43BFB10DA68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867421"/>
              </p:ext>
            </p:extLst>
          </p:nvPr>
        </p:nvGraphicFramePr>
        <p:xfrm>
          <a:off x="548432" y="5599459"/>
          <a:ext cx="3861372" cy="533854"/>
        </p:xfrm>
        <a:graphic>
          <a:graphicData uri="http://schemas.openxmlformats.org/drawingml/2006/table">
            <a:tbl>
              <a:tblPr firstRow="1" bandRow="1"/>
              <a:tblGrid>
                <a:gridCol w="549045">
                  <a:extLst>
                    <a:ext uri="{9D8B030D-6E8A-4147-A177-3AD203B41FA5}">
                      <a16:colId xmlns:a16="http://schemas.microsoft.com/office/drawing/2014/main" val="2331290239"/>
                    </a:ext>
                  </a:extLst>
                </a:gridCol>
                <a:gridCol w="116857">
                  <a:extLst>
                    <a:ext uri="{9D8B030D-6E8A-4147-A177-3AD203B41FA5}">
                      <a16:colId xmlns:a16="http://schemas.microsoft.com/office/drawing/2014/main" val="2966098500"/>
                    </a:ext>
                  </a:extLst>
                </a:gridCol>
                <a:gridCol w="3195470">
                  <a:extLst>
                    <a:ext uri="{9D8B030D-6E8A-4147-A177-3AD203B41FA5}">
                      <a16:colId xmlns:a16="http://schemas.microsoft.com/office/drawing/2014/main" val="154611114"/>
                    </a:ext>
                  </a:extLst>
                </a:gridCol>
              </a:tblGrid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 dirty="0">
                          <a:solidFill>
                            <a:srgbClr val="47254B"/>
                          </a:solidFill>
                          <a:latin typeface="+mj-lt"/>
                        </a:rPr>
                        <a:t>09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4725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4725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0" kern="12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/>
                          <a:ea typeface=""/>
                          <a:cs typeface=""/>
                        </a:rPr>
                        <a:t>Quiz: HC</a:t>
                      </a: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72232170"/>
                  </a:ext>
                </a:extLst>
              </a:tr>
            </a:tbl>
          </a:graphicData>
        </a:graphic>
      </p:graphicFrame>
      <p:pic>
        <p:nvPicPr>
          <p:cNvPr id="2" name="Picture 2" descr="Image result for clustering memes">
            <a:extLst>
              <a:ext uri="{FF2B5EF4-FFF2-40B4-BE49-F238E27FC236}">
                <a16:creationId xmlns:a16="http://schemas.microsoft.com/office/drawing/2014/main" id="{F52C3FE8-F435-42D1-A09B-A3F6C52BDC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2642008"/>
            <a:ext cx="4005162" cy="2362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12369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20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55575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39554" y="588733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HC in R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1A787259-F3D1-4CE3-830D-E4D3F1317C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554" y="1561202"/>
            <a:ext cx="8072469" cy="861441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40244CE3-6027-42CE-9FA1-CF8AE29257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9554" y="2680926"/>
            <a:ext cx="6334125" cy="3105150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1486B694-EBE1-4804-B7B0-D8A951C704D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55551" y="1264652"/>
            <a:ext cx="6692219" cy="5004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7840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D6189A5E-94EE-43B1-A9DA-0E99A69E099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21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655F72C8-85CC-4B85-A8C6-956AF72359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Title 6">
            <a:extLst>
              <a:ext uri="{FF2B5EF4-FFF2-40B4-BE49-F238E27FC236}">
                <a16:creationId xmlns:a16="http://schemas.microsoft.com/office/drawing/2014/main" id="{8FF58D1E-BF67-41E2-85E5-0ADF9F634988}"/>
              </a:ext>
            </a:extLst>
          </p:cNvPr>
          <p:cNvSpPr txBox="1">
            <a:spLocks/>
          </p:cNvSpPr>
          <p:nvPr/>
        </p:nvSpPr>
        <p:spPr>
          <a:xfrm>
            <a:off x="517360" y="519750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HC Quiz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12B967E7-C487-4B17-A6AC-3DE9B5DDEE82}"/>
              </a:ext>
            </a:extLst>
          </p:cNvPr>
          <p:cNvSpPr/>
          <p:nvPr/>
        </p:nvSpPr>
        <p:spPr>
          <a:xfrm>
            <a:off x="794422" y="2362200"/>
            <a:ext cx="7518343" cy="2585323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5400" b="1" cap="none" spc="0" dirty="0" err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Let’s</a:t>
            </a:r>
            <a:r>
              <a:rPr lang="es-ES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 do a Quick Quiz</a:t>
            </a:r>
          </a:p>
          <a:p>
            <a:pPr algn="ctr"/>
            <a:r>
              <a:rPr lang="es-ES" sz="5400" b="1" dirty="0" err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About</a:t>
            </a:r>
            <a:r>
              <a:rPr lang="es-ES" sz="5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 </a:t>
            </a:r>
            <a:r>
              <a:rPr lang="es-ES" sz="5400" b="1" dirty="0" err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Hierarchical</a:t>
            </a:r>
            <a:r>
              <a:rPr lang="es-ES" sz="5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 Clustering</a:t>
            </a:r>
            <a:endParaRPr lang="es-E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416708313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D6189A5E-94EE-43B1-A9DA-0E99A69E099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22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655F72C8-85CC-4B85-A8C6-956AF72359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Title 6">
            <a:extLst>
              <a:ext uri="{FF2B5EF4-FFF2-40B4-BE49-F238E27FC236}">
                <a16:creationId xmlns:a16="http://schemas.microsoft.com/office/drawing/2014/main" id="{8FF58D1E-BF67-41E2-85E5-0ADF9F634988}"/>
              </a:ext>
            </a:extLst>
          </p:cNvPr>
          <p:cNvSpPr txBox="1">
            <a:spLocks/>
          </p:cNvSpPr>
          <p:nvPr/>
        </p:nvSpPr>
        <p:spPr>
          <a:xfrm>
            <a:off x="517360" y="519750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Bonus: Clustering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Cheat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Sheet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ED9A9B7D-F74E-429F-87BD-95D8127CCD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7360" y="1447800"/>
            <a:ext cx="8072469" cy="4347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249798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4AB11E1-93EA-42B1-9A68-9B0FF2D2DF95}" type="slidenum">
              <a:rPr lang="en-US" smtClean="0"/>
              <a:t>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32908" y="1024465"/>
            <a:ext cx="8305800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5400" dirty="0">
                <a:solidFill>
                  <a:srgbClr val="EE2653"/>
                </a:solidFill>
                <a:latin typeface="+mj-lt"/>
              </a:rPr>
              <a:t>Next Session: </a:t>
            </a:r>
          </a:p>
          <a:p>
            <a:pPr algn="l"/>
            <a:r>
              <a:rPr lang="en-US" sz="5400" dirty="0">
                <a:solidFill>
                  <a:srgbClr val="EE2653"/>
                </a:solidFill>
                <a:latin typeface="+mj-lt"/>
              </a:rPr>
              <a:t>Association</a:t>
            </a:r>
          </a:p>
          <a:p>
            <a:pPr algn="l"/>
            <a:r>
              <a:rPr lang="en-US" sz="5400" dirty="0">
                <a:solidFill>
                  <a:srgbClr val="EE2653"/>
                </a:solidFill>
                <a:latin typeface="+mj-lt"/>
              </a:rPr>
              <a:t>Rules</a:t>
            </a:r>
          </a:p>
          <a:p>
            <a:pPr algn="l"/>
            <a:endParaRPr lang="en-US" sz="5400" dirty="0">
              <a:solidFill>
                <a:srgbClr val="EE2653"/>
              </a:solidFill>
              <a:latin typeface="+mj-lt"/>
            </a:endParaRPr>
          </a:p>
          <a:p>
            <a:pPr algn="l"/>
            <a:r>
              <a:rPr lang="en-US" sz="4800" dirty="0">
                <a:solidFill>
                  <a:srgbClr val="EE2653"/>
                </a:solidFill>
                <a:latin typeface="+mj-lt"/>
              </a:rPr>
              <a:t>Thanks!	</a:t>
            </a:r>
            <a:r>
              <a:rPr lang="en-US" sz="5400" dirty="0">
                <a:solidFill>
                  <a:srgbClr val="EE2653"/>
                </a:solidFill>
                <a:latin typeface="+mj-lt"/>
              </a:rPr>
              <a:t>		</a:t>
            </a:r>
            <a:r>
              <a:rPr lang="en-US" dirty="0">
                <a:solidFill>
                  <a:srgbClr val="EE2653"/>
                </a:solidFill>
                <a:latin typeface="+mj-lt"/>
              </a:rPr>
              <a:t>Let’s make the complex simple…</a:t>
            </a:r>
          </a:p>
        </p:txBody>
      </p:sp>
      <p:pic>
        <p:nvPicPr>
          <p:cNvPr id="6" name="Picture 4" descr="Image result for clustering memes">
            <a:extLst>
              <a:ext uri="{FF2B5EF4-FFF2-40B4-BE49-F238E27FC236}">
                <a16:creationId xmlns:a16="http://schemas.microsoft.com/office/drawing/2014/main" id="{AFF30EE8-CD53-4C09-A4DC-E31108BFAA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1078" y="1295400"/>
            <a:ext cx="3381203" cy="33812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85694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4AB11E1-93EA-42B1-9A68-9B0FF2D2DF95}" type="slidenum">
              <a:rPr lang="en-US" smtClean="0"/>
              <a:t>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44880" y="762000"/>
            <a:ext cx="859912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5400" dirty="0">
                <a:solidFill>
                  <a:srgbClr val="EE2653"/>
                </a:solidFill>
                <a:latin typeface="+mj-lt"/>
              </a:rPr>
              <a:t>Enjoy Machine Learning </a:t>
            </a:r>
          </a:p>
          <a:p>
            <a:pPr algn="l"/>
            <a:r>
              <a:rPr lang="en-US" sz="5400" dirty="0">
                <a:solidFill>
                  <a:srgbClr val="EE2653"/>
                </a:solidFill>
                <a:latin typeface="+mj-lt"/>
              </a:rPr>
              <a:t>				;)</a:t>
            </a:r>
          </a:p>
        </p:txBody>
      </p:sp>
      <p:pic>
        <p:nvPicPr>
          <p:cNvPr id="24578" name="Picture 2" descr="Related image">
            <a:extLst>
              <a:ext uri="{FF2B5EF4-FFF2-40B4-BE49-F238E27FC236}">
                <a16:creationId xmlns:a16="http://schemas.microsoft.com/office/drawing/2014/main" id="{77DD4E2E-978D-4034-AA8C-08B2FC92AE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7800" y="3479076"/>
            <a:ext cx="6096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34470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3</a:t>
            </a:fld>
            <a:r>
              <a:rPr lang="en-GB" dirty="0"/>
              <a:t> /  evalueserve.com</a:t>
            </a:r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83688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41974" y="589797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kern="0" dirty="0">
                <a:solidFill>
                  <a:srgbClr val="EE2653"/>
                </a:solidFill>
                <a:latin typeface="Arial" panose="020B0604020202020204"/>
              </a:rPr>
              <a:t>Clustering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sp>
        <p:nvSpPr>
          <p:cNvPr id="32" name="Rectángulo: esquinas redondeadas 4">
            <a:extLst>
              <a:ext uri="{FF2B5EF4-FFF2-40B4-BE49-F238E27FC236}">
                <a16:creationId xmlns:a16="http://schemas.microsoft.com/office/drawing/2014/main" id="{13B33E33-8CBC-4D6C-8F18-514D2CA17882}"/>
              </a:ext>
            </a:extLst>
          </p:cNvPr>
          <p:cNvSpPr/>
          <p:nvPr/>
        </p:nvSpPr>
        <p:spPr bwMode="auto">
          <a:xfrm>
            <a:off x="1985487" y="1562980"/>
            <a:ext cx="5173026" cy="77193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600" kern="0" dirty="0"/>
              <a:t>Similar </a:t>
            </a:r>
            <a:r>
              <a:rPr lang="es-CL" sz="1600" kern="0" dirty="0" err="1"/>
              <a:t>to</a:t>
            </a:r>
            <a:r>
              <a:rPr lang="es-CL" sz="1600" kern="0" dirty="0"/>
              <a:t> </a:t>
            </a:r>
            <a:r>
              <a:rPr lang="es-CL" sz="1600" kern="0" dirty="0" err="1"/>
              <a:t>Classification</a:t>
            </a:r>
            <a:r>
              <a:rPr lang="es-CL" sz="1600" kern="0" dirty="0"/>
              <a:t>, </a:t>
            </a:r>
            <a:r>
              <a:rPr lang="es-CL" sz="1600" kern="0" dirty="0" err="1"/>
              <a:t>but</a:t>
            </a:r>
            <a:r>
              <a:rPr lang="es-CL" sz="1600" kern="0" dirty="0"/>
              <a:t> </a:t>
            </a:r>
            <a:r>
              <a:rPr lang="es-CL" sz="1600" kern="0" dirty="0" err="1"/>
              <a:t>with</a:t>
            </a:r>
            <a:r>
              <a:rPr lang="es-CL" sz="1600" kern="0" dirty="0"/>
              <a:t> a </a:t>
            </a:r>
            <a:r>
              <a:rPr lang="es-CL" sz="1600" kern="0" dirty="0" err="1"/>
              <a:t>different</a:t>
            </a:r>
            <a:r>
              <a:rPr lang="es-CL" sz="1600" kern="0" dirty="0"/>
              <a:t> </a:t>
            </a:r>
            <a:r>
              <a:rPr lang="es-CL" sz="1600" kern="0" dirty="0" err="1"/>
              <a:t>basis</a:t>
            </a:r>
            <a:endParaRPr lang="en-US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33" name="Rectángulo: esquinas redondeadas 4">
            <a:extLst>
              <a:ext uri="{FF2B5EF4-FFF2-40B4-BE49-F238E27FC236}">
                <a16:creationId xmlns:a16="http://schemas.microsoft.com/office/drawing/2014/main" id="{9AEA6751-F005-4D35-A4B3-E3FE04733D43}"/>
              </a:ext>
            </a:extLst>
          </p:cNvPr>
          <p:cNvSpPr/>
          <p:nvPr/>
        </p:nvSpPr>
        <p:spPr bwMode="auto">
          <a:xfrm>
            <a:off x="1997928" y="2475585"/>
            <a:ext cx="5160585" cy="77193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In Clustering: What are you looking for?</a:t>
            </a:r>
            <a:endParaRPr lang="en-US" kern="0" dirty="0"/>
          </a:p>
          <a:p>
            <a:pPr algn="just"/>
            <a:endParaRPr lang="en-US" sz="1400" kern="0" dirty="0"/>
          </a:p>
        </p:txBody>
      </p:sp>
      <p:pic>
        <p:nvPicPr>
          <p:cNvPr id="15362" name="Picture 2" descr="Image result for clustering">
            <a:extLst>
              <a:ext uri="{FF2B5EF4-FFF2-40B4-BE49-F238E27FC236}">
                <a16:creationId xmlns:a16="http://schemas.microsoft.com/office/drawing/2014/main" id="{235F144D-DFA3-4387-B3FF-63ED91592D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134" y="3655661"/>
            <a:ext cx="3616866" cy="24859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ángulo: esquinas redondeadas 4">
            <a:extLst>
              <a:ext uri="{FF2B5EF4-FFF2-40B4-BE49-F238E27FC236}">
                <a16:creationId xmlns:a16="http://schemas.microsoft.com/office/drawing/2014/main" id="{B2433DD4-24B0-4540-9E2A-439D860C7AA7}"/>
              </a:ext>
            </a:extLst>
          </p:cNvPr>
          <p:cNvSpPr/>
          <p:nvPr/>
        </p:nvSpPr>
        <p:spPr bwMode="auto">
          <a:xfrm>
            <a:off x="5159524" y="3902624"/>
            <a:ext cx="3454919" cy="1789359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Today, we will be talking about:</a:t>
            </a:r>
          </a:p>
          <a:p>
            <a:pPr algn="just"/>
            <a:endParaRPr lang="en-US" sz="1600" kern="0" dirty="0"/>
          </a:p>
          <a:p>
            <a:pPr algn="just"/>
            <a:r>
              <a:rPr lang="en-US" sz="1600" kern="0" dirty="0"/>
              <a:t>-K-Means</a:t>
            </a:r>
          </a:p>
          <a:p>
            <a:pPr algn="just"/>
            <a:r>
              <a:rPr lang="en-US" sz="1600" kern="0" dirty="0"/>
              <a:t>-Hierarchical Clustering</a:t>
            </a:r>
          </a:p>
          <a:p>
            <a:pPr algn="just"/>
            <a:endParaRPr lang="en-US" sz="1400" kern="0" dirty="0"/>
          </a:p>
        </p:txBody>
      </p:sp>
    </p:spTree>
    <p:extLst>
      <p:ext uri="{BB962C8B-B14F-4D97-AF65-F5344CB8AC3E}">
        <p14:creationId xmlns:p14="http://schemas.microsoft.com/office/powerpoint/2010/main" val="4169712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33" grpId="0" animBg="1"/>
      <p:bldP spid="25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DA22CD86-C29F-4DEF-9CF1-1C2D2E3CA5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4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837FC170-6E7F-4835-AEDD-7C03E7258D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6E93B45D-ABFC-4259-87AB-7373379542F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43012" y="1708662"/>
            <a:ext cx="6657975" cy="3971925"/>
          </a:xfrm>
          <a:prstGeom prst="rect">
            <a:avLst/>
          </a:prstGeom>
        </p:spPr>
      </p:pic>
      <p:sp>
        <p:nvSpPr>
          <p:cNvPr id="8" name="Title 6">
            <a:extLst>
              <a:ext uri="{FF2B5EF4-FFF2-40B4-BE49-F238E27FC236}">
                <a16:creationId xmlns:a16="http://schemas.microsoft.com/office/drawing/2014/main" id="{5C79AB7A-E903-49CA-BBA0-0C0AE33E04F3}"/>
              </a:ext>
            </a:extLst>
          </p:cNvPr>
          <p:cNvSpPr txBox="1">
            <a:spLocks/>
          </p:cNvSpPr>
          <p:nvPr/>
        </p:nvSpPr>
        <p:spPr>
          <a:xfrm>
            <a:off x="541974" y="589797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Euclidian</a:t>
            </a:r>
            <a:r>
              <a:rPr lang="es-CL" kern="0" dirty="0">
                <a:solidFill>
                  <a:srgbClr val="EE2653"/>
                </a:solidFill>
                <a:latin typeface="Arial" panose="020B0604020202020204"/>
              </a:rPr>
              <a:t> </a:t>
            </a: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Distance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4392696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BC707768-50B6-4A47-9131-C0250561A1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5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C781EAA5-393B-495D-92FE-9CACE70FB5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5F3BF07-FB58-4934-A9F6-5934826722AE}"/>
              </a:ext>
            </a:extLst>
          </p:cNvPr>
          <p:cNvSpPr txBox="1">
            <a:spLocks/>
          </p:cNvSpPr>
          <p:nvPr/>
        </p:nvSpPr>
        <p:spPr>
          <a:xfrm>
            <a:off x="517360" y="519750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K-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Means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588E4F19-AC43-42D6-A74B-17766E2A48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3257" y="1394667"/>
            <a:ext cx="7968343" cy="1694810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32DB770B-5B67-401D-8F98-7853A1BE72F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3257" y="3213920"/>
            <a:ext cx="2728913" cy="2523388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2B5E7AAC-7C59-4FEB-B79C-BFE7C1D8431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3257" y="3043284"/>
            <a:ext cx="7358747" cy="2886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328167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BC707768-50B6-4A47-9131-C0250561A1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6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C781EAA5-393B-495D-92FE-9CACE70FB5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5F3BF07-FB58-4934-A9F6-5934826722AE}"/>
              </a:ext>
            </a:extLst>
          </p:cNvPr>
          <p:cNvSpPr txBox="1">
            <a:spLocks/>
          </p:cNvSpPr>
          <p:nvPr/>
        </p:nvSpPr>
        <p:spPr>
          <a:xfrm>
            <a:off x="517360" y="519750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K-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Means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sp>
        <p:nvSpPr>
          <p:cNvPr id="20" name="Rectángulo: esquinas redondeadas 4">
            <a:extLst>
              <a:ext uri="{FF2B5EF4-FFF2-40B4-BE49-F238E27FC236}">
                <a16:creationId xmlns:a16="http://schemas.microsoft.com/office/drawing/2014/main" id="{2F01CF8F-FA17-4FD4-9F30-98341DA83188}"/>
              </a:ext>
            </a:extLst>
          </p:cNvPr>
          <p:cNvSpPr/>
          <p:nvPr/>
        </p:nvSpPr>
        <p:spPr bwMode="auto">
          <a:xfrm>
            <a:off x="930168" y="2129917"/>
            <a:ext cx="4267200" cy="60147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400" kern="0" dirty="0" err="1"/>
              <a:t>Choose</a:t>
            </a:r>
            <a:r>
              <a:rPr lang="es-CL" sz="1400" kern="0" dirty="0"/>
              <a:t> </a:t>
            </a:r>
            <a:r>
              <a:rPr lang="es-CL" sz="1400" kern="0" dirty="0" err="1"/>
              <a:t>the</a:t>
            </a:r>
            <a:r>
              <a:rPr lang="es-CL" sz="1400" kern="0" dirty="0"/>
              <a:t> </a:t>
            </a:r>
            <a:r>
              <a:rPr lang="es-CL" sz="1400" kern="0" dirty="0" err="1"/>
              <a:t>number</a:t>
            </a:r>
            <a:r>
              <a:rPr lang="es-CL" sz="1400" kern="0" dirty="0"/>
              <a:t> K </a:t>
            </a:r>
            <a:r>
              <a:rPr lang="es-CL" sz="1400" kern="0" dirty="0" err="1"/>
              <a:t>of</a:t>
            </a:r>
            <a:r>
              <a:rPr lang="es-CL" sz="1400" kern="0" dirty="0"/>
              <a:t> </a:t>
            </a:r>
            <a:r>
              <a:rPr lang="es-CL" sz="1400" kern="0" dirty="0" err="1"/>
              <a:t>clusters</a:t>
            </a:r>
            <a:endParaRPr lang="en-US" sz="1400" kern="0" dirty="0"/>
          </a:p>
        </p:txBody>
      </p:sp>
      <p:sp>
        <p:nvSpPr>
          <p:cNvPr id="21" name="Rectángulo 1">
            <a:extLst>
              <a:ext uri="{FF2B5EF4-FFF2-40B4-BE49-F238E27FC236}">
                <a16:creationId xmlns:a16="http://schemas.microsoft.com/office/drawing/2014/main" id="{94E51C27-8604-40F6-AF0B-5814768A3B63}"/>
              </a:ext>
            </a:extLst>
          </p:cNvPr>
          <p:cNvSpPr/>
          <p:nvPr/>
        </p:nvSpPr>
        <p:spPr>
          <a:xfrm>
            <a:off x="295452" y="2033537"/>
            <a:ext cx="498855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1</a:t>
            </a:r>
          </a:p>
        </p:txBody>
      </p:sp>
      <p:sp>
        <p:nvSpPr>
          <p:cNvPr id="22" name="Rectángulo: esquinas redondeadas 4">
            <a:extLst>
              <a:ext uri="{FF2B5EF4-FFF2-40B4-BE49-F238E27FC236}">
                <a16:creationId xmlns:a16="http://schemas.microsoft.com/office/drawing/2014/main" id="{F9A7716D-E104-4489-9D25-ABD730A1E9BC}"/>
              </a:ext>
            </a:extLst>
          </p:cNvPr>
          <p:cNvSpPr/>
          <p:nvPr/>
        </p:nvSpPr>
        <p:spPr bwMode="auto">
          <a:xfrm>
            <a:off x="930168" y="3045041"/>
            <a:ext cx="5489962" cy="60147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400" kern="0" dirty="0" err="1"/>
              <a:t>Select</a:t>
            </a:r>
            <a:r>
              <a:rPr lang="es-CL" sz="1400" kern="0" dirty="0"/>
              <a:t> at </a:t>
            </a:r>
            <a:r>
              <a:rPr lang="es-CL" sz="1400" kern="0" dirty="0" err="1"/>
              <a:t>random</a:t>
            </a:r>
            <a:r>
              <a:rPr lang="es-CL" sz="1400" kern="0" dirty="0"/>
              <a:t> K </a:t>
            </a:r>
            <a:r>
              <a:rPr lang="es-CL" sz="1400" kern="0" dirty="0" err="1"/>
              <a:t>points</a:t>
            </a:r>
            <a:r>
              <a:rPr lang="es-CL" sz="1400" kern="0" dirty="0"/>
              <a:t>, </a:t>
            </a:r>
            <a:r>
              <a:rPr lang="es-CL" sz="1400" kern="0" dirty="0" err="1"/>
              <a:t>the</a:t>
            </a:r>
            <a:r>
              <a:rPr lang="es-CL" sz="1400" kern="0" dirty="0"/>
              <a:t> </a:t>
            </a:r>
            <a:r>
              <a:rPr lang="es-CL" sz="1400" kern="0" dirty="0" err="1"/>
              <a:t>centroids</a:t>
            </a:r>
            <a:r>
              <a:rPr lang="es-CL" sz="1400" kern="0" dirty="0"/>
              <a:t> </a:t>
            </a:r>
            <a:endParaRPr lang="en-US" sz="1400" kern="0" dirty="0"/>
          </a:p>
        </p:txBody>
      </p:sp>
      <p:sp>
        <p:nvSpPr>
          <p:cNvPr id="23" name="Rectángulo 1">
            <a:extLst>
              <a:ext uri="{FF2B5EF4-FFF2-40B4-BE49-F238E27FC236}">
                <a16:creationId xmlns:a16="http://schemas.microsoft.com/office/drawing/2014/main" id="{37C1FAA8-B444-45C4-9E52-D6901B82A7CF}"/>
              </a:ext>
            </a:extLst>
          </p:cNvPr>
          <p:cNvSpPr/>
          <p:nvPr/>
        </p:nvSpPr>
        <p:spPr>
          <a:xfrm>
            <a:off x="291742" y="2951988"/>
            <a:ext cx="498855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2</a:t>
            </a:r>
          </a:p>
        </p:txBody>
      </p:sp>
      <p:sp>
        <p:nvSpPr>
          <p:cNvPr id="24" name="Rectángulo: esquinas redondeadas 4">
            <a:extLst>
              <a:ext uri="{FF2B5EF4-FFF2-40B4-BE49-F238E27FC236}">
                <a16:creationId xmlns:a16="http://schemas.microsoft.com/office/drawing/2014/main" id="{8BB2684D-53DF-42B5-9D09-3223E63475E9}"/>
              </a:ext>
            </a:extLst>
          </p:cNvPr>
          <p:cNvSpPr/>
          <p:nvPr/>
        </p:nvSpPr>
        <p:spPr bwMode="auto">
          <a:xfrm>
            <a:off x="930168" y="3918578"/>
            <a:ext cx="5429041" cy="60147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400" kern="0" dirty="0" err="1"/>
              <a:t>Assign</a:t>
            </a:r>
            <a:r>
              <a:rPr lang="es-CL" sz="1400" kern="0" dirty="0"/>
              <a:t> </a:t>
            </a:r>
            <a:r>
              <a:rPr lang="es-CL" sz="1400" kern="0" dirty="0" err="1"/>
              <a:t>each</a:t>
            </a:r>
            <a:r>
              <a:rPr lang="es-CL" sz="1400" kern="0" dirty="0"/>
              <a:t> data </a:t>
            </a:r>
            <a:r>
              <a:rPr lang="es-CL" sz="1400" kern="0" dirty="0" err="1"/>
              <a:t>point</a:t>
            </a:r>
            <a:r>
              <a:rPr lang="es-CL" sz="1400" kern="0" dirty="0"/>
              <a:t> </a:t>
            </a:r>
            <a:r>
              <a:rPr lang="es-CL" sz="1400" kern="0" dirty="0" err="1"/>
              <a:t>to</a:t>
            </a:r>
            <a:r>
              <a:rPr lang="es-CL" sz="1400" kern="0" dirty="0"/>
              <a:t> </a:t>
            </a:r>
            <a:r>
              <a:rPr lang="es-CL" sz="1400" kern="0" dirty="0" err="1"/>
              <a:t>the</a:t>
            </a:r>
            <a:r>
              <a:rPr lang="es-CL" sz="1400" kern="0" dirty="0"/>
              <a:t> </a:t>
            </a:r>
            <a:r>
              <a:rPr lang="es-CL" sz="1400" kern="0" dirty="0" err="1"/>
              <a:t>closest</a:t>
            </a:r>
            <a:r>
              <a:rPr lang="es-CL" sz="1400" kern="0" dirty="0"/>
              <a:t> </a:t>
            </a:r>
            <a:r>
              <a:rPr lang="es-CL" sz="1400" kern="0" dirty="0" err="1"/>
              <a:t>centroid</a:t>
            </a:r>
            <a:r>
              <a:rPr lang="es-CL" sz="1400" kern="0" dirty="0"/>
              <a:t> (</a:t>
            </a:r>
            <a:r>
              <a:rPr lang="es-CL" sz="1400" kern="0" dirty="0" err="1"/>
              <a:t>forming</a:t>
            </a:r>
            <a:r>
              <a:rPr lang="es-CL" sz="1400" kern="0" dirty="0"/>
              <a:t> K </a:t>
            </a:r>
            <a:r>
              <a:rPr lang="es-CL" sz="1400" kern="0" dirty="0" err="1"/>
              <a:t>clusters</a:t>
            </a:r>
            <a:r>
              <a:rPr lang="es-CL" sz="1400" kern="0" dirty="0"/>
              <a:t>)</a:t>
            </a:r>
            <a:endParaRPr lang="en-US" sz="1400" kern="0" dirty="0"/>
          </a:p>
        </p:txBody>
      </p:sp>
      <p:sp>
        <p:nvSpPr>
          <p:cNvPr id="25" name="Rectángulo 1">
            <a:extLst>
              <a:ext uri="{FF2B5EF4-FFF2-40B4-BE49-F238E27FC236}">
                <a16:creationId xmlns:a16="http://schemas.microsoft.com/office/drawing/2014/main" id="{A20E9F00-E37E-4E38-8EBC-2AE5D9EF656F}"/>
              </a:ext>
            </a:extLst>
          </p:cNvPr>
          <p:cNvSpPr/>
          <p:nvPr/>
        </p:nvSpPr>
        <p:spPr>
          <a:xfrm>
            <a:off x="291742" y="3810231"/>
            <a:ext cx="498855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3</a:t>
            </a:r>
          </a:p>
        </p:txBody>
      </p:sp>
      <p:sp>
        <p:nvSpPr>
          <p:cNvPr id="26" name="Rectángulo: esquinas redondeadas 4">
            <a:extLst>
              <a:ext uri="{FF2B5EF4-FFF2-40B4-BE49-F238E27FC236}">
                <a16:creationId xmlns:a16="http://schemas.microsoft.com/office/drawing/2014/main" id="{24863FF4-8DE3-4E5B-8465-B4315E147274}"/>
              </a:ext>
            </a:extLst>
          </p:cNvPr>
          <p:cNvSpPr/>
          <p:nvPr/>
        </p:nvSpPr>
        <p:spPr bwMode="auto">
          <a:xfrm>
            <a:off x="930168" y="5609104"/>
            <a:ext cx="5851632" cy="667093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400" kern="0" dirty="0" err="1"/>
              <a:t>Reassign</a:t>
            </a:r>
            <a:r>
              <a:rPr lang="es-CL" sz="1400" kern="0" dirty="0"/>
              <a:t> </a:t>
            </a:r>
            <a:r>
              <a:rPr lang="es-CL" sz="1400" kern="0" dirty="0" err="1"/>
              <a:t>each</a:t>
            </a:r>
            <a:r>
              <a:rPr lang="es-CL" sz="1400" kern="0" dirty="0"/>
              <a:t> data </a:t>
            </a:r>
            <a:r>
              <a:rPr lang="es-CL" sz="1400" kern="0" dirty="0" err="1"/>
              <a:t>point</a:t>
            </a:r>
            <a:r>
              <a:rPr lang="es-CL" sz="1400" kern="0" dirty="0"/>
              <a:t> </a:t>
            </a:r>
            <a:r>
              <a:rPr lang="es-CL" sz="1400" kern="0" dirty="0" err="1"/>
              <a:t>to</a:t>
            </a:r>
            <a:r>
              <a:rPr lang="es-CL" sz="1400" kern="0" dirty="0"/>
              <a:t> </a:t>
            </a:r>
            <a:r>
              <a:rPr lang="es-CL" sz="1400" kern="0" dirty="0" err="1"/>
              <a:t>the</a:t>
            </a:r>
            <a:r>
              <a:rPr lang="es-CL" sz="1400" kern="0" dirty="0"/>
              <a:t> new </a:t>
            </a:r>
            <a:r>
              <a:rPr lang="es-CL" sz="1400" kern="0" dirty="0" err="1"/>
              <a:t>closest</a:t>
            </a:r>
            <a:r>
              <a:rPr lang="es-CL" sz="1400" kern="0" dirty="0"/>
              <a:t> </a:t>
            </a:r>
            <a:r>
              <a:rPr lang="es-CL" sz="1400" kern="0" dirty="0" err="1"/>
              <a:t>centroid</a:t>
            </a:r>
            <a:r>
              <a:rPr lang="es-CL" sz="1400" kern="0" dirty="0"/>
              <a:t> and </a:t>
            </a:r>
            <a:r>
              <a:rPr lang="es-CL" sz="1400" kern="0" dirty="0" err="1"/>
              <a:t>go</a:t>
            </a:r>
            <a:r>
              <a:rPr lang="es-CL" sz="1400" kern="0" dirty="0"/>
              <a:t> </a:t>
            </a:r>
            <a:r>
              <a:rPr lang="es-CL" sz="1400" kern="0" dirty="0" err="1"/>
              <a:t>to</a:t>
            </a:r>
            <a:r>
              <a:rPr lang="es-CL" sz="1400" kern="0" dirty="0"/>
              <a:t> step 4 (</a:t>
            </a:r>
            <a:r>
              <a:rPr lang="es-CL" sz="1400" kern="0" dirty="0" err="1"/>
              <a:t>if</a:t>
            </a:r>
            <a:r>
              <a:rPr lang="es-CL" sz="1400" kern="0" dirty="0"/>
              <a:t> </a:t>
            </a:r>
            <a:r>
              <a:rPr lang="es-CL" sz="1400" kern="0" dirty="0" err="1"/>
              <a:t>there</a:t>
            </a:r>
            <a:r>
              <a:rPr lang="es-CL" sz="1400" kern="0" dirty="0"/>
              <a:t> is </a:t>
            </a:r>
            <a:r>
              <a:rPr lang="es-CL" sz="1400" kern="0" dirty="0" err="1"/>
              <a:t>not</a:t>
            </a:r>
            <a:r>
              <a:rPr lang="es-CL" sz="1400" kern="0" dirty="0"/>
              <a:t> a </a:t>
            </a:r>
            <a:r>
              <a:rPr lang="es-CL" sz="1400" kern="0" dirty="0" err="1"/>
              <a:t>reassignment</a:t>
            </a:r>
            <a:r>
              <a:rPr lang="es-CL" sz="1400" kern="0" dirty="0"/>
              <a:t>, </a:t>
            </a:r>
            <a:r>
              <a:rPr lang="es-CL" sz="1400" kern="0" dirty="0" err="1"/>
              <a:t>finish</a:t>
            </a:r>
            <a:r>
              <a:rPr lang="es-CL" sz="1400" kern="0" dirty="0"/>
              <a:t> </a:t>
            </a:r>
            <a:r>
              <a:rPr lang="es-CL" sz="1400" kern="0" dirty="0" err="1"/>
              <a:t>the</a:t>
            </a:r>
            <a:r>
              <a:rPr lang="es-CL" sz="1400" kern="0" dirty="0"/>
              <a:t> </a:t>
            </a:r>
            <a:r>
              <a:rPr lang="es-CL" sz="1400" kern="0" dirty="0" err="1"/>
              <a:t>process</a:t>
            </a:r>
            <a:r>
              <a:rPr lang="es-CL" sz="1400" kern="0" dirty="0"/>
              <a:t>)</a:t>
            </a:r>
            <a:endParaRPr lang="en-US" sz="1400" kern="0" dirty="0"/>
          </a:p>
        </p:txBody>
      </p:sp>
      <p:sp>
        <p:nvSpPr>
          <p:cNvPr id="27" name="Rectángulo 1">
            <a:extLst>
              <a:ext uri="{FF2B5EF4-FFF2-40B4-BE49-F238E27FC236}">
                <a16:creationId xmlns:a16="http://schemas.microsoft.com/office/drawing/2014/main" id="{2D46BD48-8CE5-4224-BC2E-4BA4D0D76B9B}"/>
              </a:ext>
            </a:extLst>
          </p:cNvPr>
          <p:cNvSpPr/>
          <p:nvPr/>
        </p:nvSpPr>
        <p:spPr>
          <a:xfrm>
            <a:off x="288181" y="4628802"/>
            <a:ext cx="498855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4</a:t>
            </a:r>
            <a:endParaRPr lang="es-ES" sz="4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sp>
        <p:nvSpPr>
          <p:cNvPr id="28" name="Rectángulo 27">
            <a:extLst>
              <a:ext uri="{FF2B5EF4-FFF2-40B4-BE49-F238E27FC236}">
                <a16:creationId xmlns:a16="http://schemas.microsoft.com/office/drawing/2014/main" id="{E0A06A63-006E-4B47-968E-3DE7005A5B74}"/>
              </a:ext>
            </a:extLst>
          </p:cNvPr>
          <p:cNvSpPr/>
          <p:nvPr/>
        </p:nvSpPr>
        <p:spPr>
          <a:xfrm>
            <a:off x="252915" y="1325651"/>
            <a:ext cx="6284093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 err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How</a:t>
            </a:r>
            <a:r>
              <a:rPr lang="es-ES" sz="40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 </a:t>
            </a:r>
            <a:r>
              <a:rPr lang="es-ES" sz="4000" b="1" cap="none" spc="0" dirty="0" err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the</a:t>
            </a:r>
            <a:r>
              <a:rPr lang="es-ES" sz="40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 </a:t>
            </a:r>
            <a:r>
              <a:rPr lang="es-ES" sz="4000" b="1" cap="none" spc="0" dirty="0" err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algorith</a:t>
            </a:r>
            <a:r>
              <a:rPr lang="es-ES" sz="4000" b="1" dirty="0" err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m</a:t>
            </a:r>
            <a:r>
              <a:rPr lang="es-ES" sz="40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 </a:t>
            </a:r>
            <a:r>
              <a:rPr lang="es-ES" sz="4000" b="1" dirty="0" err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works</a:t>
            </a:r>
            <a:endParaRPr lang="es-ES" sz="40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sp>
        <p:nvSpPr>
          <p:cNvPr id="29" name="Rectángulo: esquinas redondeadas 4">
            <a:extLst>
              <a:ext uri="{FF2B5EF4-FFF2-40B4-BE49-F238E27FC236}">
                <a16:creationId xmlns:a16="http://schemas.microsoft.com/office/drawing/2014/main" id="{76087E33-440F-4D61-AF42-20ED93D27A26}"/>
              </a:ext>
            </a:extLst>
          </p:cNvPr>
          <p:cNvSpPr/>
          <p:nvPr/>
        </p:nvSpPr>
        <p:spPr bwMode="auto">
          <a:xfrm>
            <a:off x="930168" y="4762558"/>
            <a:ext cx="4099032" cy="60147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400" kern="0" dirty="0"/>
              <a:t>Compute a place a new </a:t>
            </a:r>
            <a:r>
              <a:rPr lang="es-CL" sz="1400" kern="0" dirty="0" err="1"/>
              <a:t>centroid</a:t>
            </a:r>
            <a:r>
              <a:rPr lang="es-CL" sz="1400" kern="0" dirty="0"/>
              <a:t> for </a:t>
            </a:r>
            <a:r>
              <a:rPr lang="es-CL" sz="1400" kern="0" dirty="0" err="1"/>
              <a:t>each</a:t>
            </a:r>
            <a:r>
              <a:rPr lang="es-CL" sz="1400" kern="0" dirty="0"/>
              <a:t> </a:t>
            </a:r>
            <a:r>
              <a:rPr lang="es-CL" sz="1400" kern="0" dirty="0" err="1"/>
              <a:t>cluster</a:t>
            </a:r>
            <a:endParaRPr lang="en-US" sz="1400" kern="0" dirty="0"/>
          </a:p>
        </p:txBody>
      </p:sp>
      <p:sp>
        <p:nvSpPr>
          <p:cNvPr id="30" name="Rectángulo 1">
            <a:extLst>
              <a:ext uri="{FF2B5EF4-FFF2-40B4-BE49-F238E27FC236}">
                <a16:creationId xmlns:a16="http://schemas.microsoft.com/office/drawing/2014/main" id="{90FB4D07-BF5F-4AAE-9005-4BC0C5F1138D}"/>
              </a:ext>
            </a:extLst>
          </p:cNvPr>
          <p:cNvSpPr/>
          <p:nvPr/>
        </p:nvSpPr>
        <p:spPr>
          <a:xfrm>
            <a:off x="288180" y="5517249"/>
            <a:ext cx="498856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5</a:t>
            </a:r>
            <a:endParaRPr lang="es-ES" sz="4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sp>
        <p:nvSpPr>
          <p:cNvPr id="32" name="Flecha: doblada 31">
            <a:extLst>
              <a:ext uri="{FF2B5EF4-FFF2-40B4-BE49-F238E27FC236}">
                <a16:creationId xmlns:a16="http://schemas.microsoft.com/office/drawing/2014/main" id="{C2D2C223-21C6-4932-95F2-12598FB98495}"/>
              </a:ext>
            </a:extLst>
          </p:cNvPr>
          <p:cNvSpPr/>
          <p:nvPr/>
        </p:nvSpPr>
        <p:spPr bwMode="auto">
          <a:xfrm rot="21423606">
            <a:off x="118076" y="4928463"/>
            <a:ext cx="269675" cy="1237579"/>
          </a:xfrm>
          <a:prstGeom prst="bentArrow">
            <a:avLst/>
          </a:prstGeom>
          <a:ln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3" name="Rectángulo: esquinas redondeadas 4">
            <a:extLst>
              <a:ext uri="{FF2B5EF4-FFF2-40B4-BE49-F238E27FC236}">
                <a16:creationId xmlns:a16="http://schemas.microsoft.com/office/drawing/2014/main" id="{198BABAE-574F-46B8-BB6D-C5C1AFBCD53A}"/>
              </a:ext>
            </a:extLst>
          </p:cNvPr>
          <p:cNvSpPr/>
          <p:nvPr/>
        </p:nvSpPr>
        <p:spPr bwMode="auto">
          <a:xfrm>
            <a:off x="6600087" y="2042243"/>
            <a:ext cx="1613745" cy="1013804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400" kern="0" dirty="0" err="1"/>
              <a:t>Let’s</a:t>
            </a:r>
            <a:r>
              <a:rPr lang="es-CL" sz="1400" kern="0" dirty="0"/>
              <a:t> </a:t>
            </a:r>
            <a:r>
              <a:rPr lang="es-CL" sz="1400" kern="0" dirty="0" err="1"/>
              <a:t>cover</a:t>
            </a:r>
            <a:r>
              <a:rPr lang="es-CL" sz="1400" kern="0" dirty="0"/>
              <a:t> </a:t>
            </a:r>
            <a:r>
              <a:rPr lang="es-CL" sz="1400" kern="0" dirty="0" err="1"/>
              <a:t>this</a:t>
            </a:r>
            <a:r>
              <a:rPr lang="es-CL" sz="1400" kern="0" dirty="0"/>
              <a:t> </a:t>
            </a:r>
            <a:r>
              <a:rPr lang="es-CL" sz="1400" kern="0" dirty="0" err="1"/>
              <a:t>interactively</a:t>
            </a:r>
            <a:r>
              <a:rPr lang="es-CL" sz="1400" kern="0" dirty="0"/>
              <a:t> </a:t>
            </a:r>
            <a:r>
              <a:rPr lang="es-CL" sz="1400" kern="0" dirty="0" err="1"/>
              <a:t>on</a:t>
            </a:r>
            <a:r>
              <a:rPr lang="es-CL" sz="1400" kern="0" dirty="0"/>
              <a:t> </a:t>
            </a:r>
            <a:r>
              <a:rPr lang="es-CL" sz="1400" kern="0" dirty="0" err="1"/>
              <a:t>the</a:t>
            </a:r>
            <a:r>
              <a:rPr lang="es-CL" sz="1400" kern="0" dirty="0"/>
              <a:t> </a:t>
            </a:r>
            <a:r>
              <a:rPr lang="es-CL" sz="1400" kern="0" dirty="0" err="1"/>
              <a:t>Whiteboard</a:t>
            </a:r>
            <a:endParaRPr lang="en-US" sz="1400" kern="0" dirty="0"/>
          </a:p>
        </p:txBody>
      </p:sp>
      <p:pic>
        <p:nvPicPr>
          <p:cNvPr id="17410" name="Picture 2" descr="Image result for euclidean distance">
            <a:extLst>
              <a:ext uri="{FF2B5EF4-FFF2-40B4-BE49-F238E27FC236}">
                <a16:creationId xmlns:a16="http://schemas.microsoft.com/office/drawing/2014/main" id="{BF032ECE-C16A-4F88-B18D-D821287688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1858" y="3608675"/>
            <a:ext cx="2095500" cy="144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5579289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/>
      <p:bldP spid="22" grpId="0" animBg="1"/>
      <p:bldP spid="23" grpId="0"/>
      <p:bldP spid="24" grpId="0" animBg="1"/>
      <p:bldP spid="25" grpId="0"/>
      <p:bldP spid="26" grpId="0" animBg="1"/>
      <p:bldP spid="27" grpId="0"/>
      <p:bldP spid="29" grpId="0" animBg="1"/>
      <p:bldP spid="30" grpId="0"/>
      <p:bldP spid="32" grpId="0" animBg="1"/>
      <p:bldP spid="33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BC707768-50B6-4A47-9131-C0250561A1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7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C781EAA5-393B-495D-92FE-9CACE70FB5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5F3BF07-FB58-4934-A9F6-5934826722AE}"/>
              </a:ext>
            </a:extLst>
          </p:cNvPr>
          <p:cNvSpPr txBox="1">
            <a:spLocks/>
          </p:cNvSpPr>
          <p:nvPr/>
        </p:nvSpPr>
        <p:spPr>
          <a:xfrm>
            <a:off x="517360" y="519750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Random</a:t>
            </a:r>
            <a:r>
              <a:rPr lang="es-CL" kern="0" dirty="0">
                <a:solidFill>
                  <a:srgbClr val="EE2653"/>
                </a:solidFill>
                <a:latin typeface="Arial" panose="020B0604020202020204"/>
              </a:rPr>
              <a:t> </a:t>
            </a: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Initialization</a:t>
            </a:r>
            <a:r>
              <a:rPr lang="es-CL" kern="0" dirty="0">
                <a:solidFill>
                  <a:srgbClr val="EE2653"/>
                </a:solidFill>
                <a:latin typeface="Arial" panose="020B0604020202020204"/>
              </a:rPr>
              <a:t> </a:t>
            </a: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Trap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C705860C-BE38-478B-A4A7-D3F12EB2E5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9777" y="2133600"/>
            <a:ext cx="6200564" cy="3771592"/>
          </a:xfrm>
          <a:prstGeom prst="rect">
            <a:avLst/>
          </a:prstGeom>
        </p:spPr>
      </p:pic>
      <p:sp>
        <p:nvSpPr>
          <p:cNvPr id="8" name="Rectángulo: esquinas redondeadas 4">
            <a:extLst>
              <a:ext uri="{FF2B5EF4-FFF2-40B4-BE49-F238E27FC236}">
                <a16:creationId xmlns:a16="http://schemas.microsoft.com/office/drawing/2014/main" id="{61A280CE-ECB5-4348-846D-AD0747F37BBD}"/>
              </a:ext>
            </a:extLst>
          </p:cNvPr>
          <p:cNvSpPr/>
          <p:nvPr/>
        </p:nvSpPr>
        <p:spPr bwMode="auto">
          <a:xfrm>
            <a:off x="1656769" y="1524000"/>
            <a:ext cx="5173026" cy="77193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600" kern="0" dirty="0" err="1"/>
              <a:t>Supose</a:t>
            </a:r>
            <a:r>
              <a:rPr lang="es-CL" sz="1600" kern="0" dirty="0"/>
              <a:t> </a:t>
            </a:r>
            <a:r>
              <a:rPr lang="es-CL" sz="1600" kern="0" dirty="0" err="1"/>
              <a:t>we</a:t>
            </a:r>
            <a:r>
              <a:rPr lang="es-CL" sz="1600" kern="0" dirty="0"/>
              <a:t> </a:t>
            </a:r>
            <a:r>
              <a:rPr lang="es-CL" sz="1600" kern="0" dirty="0" err="1"/>
              <a:t>finished</a:t>
            </a:r>
            <a:r>
              <a:rPr lang="es-CL" sz="1600" kern="0" dirty="0"/>
              <a:t> </a:t>
            </a:r>
            <a:r>
              <a:rPr lang="es-CL" sz="1600" kern="0" dirty="0" err="1"/>
              <a:t>with</a:t>
            </a:r>
            <a:r>
              <a:rPr lang="es-CL" sz="1600" kern="0" dirty="0"/>
              <a:t> </a:t>
            </a:r>
            <a:r>
              <a:rPr lang="es-CL" sz="1600" kern="0" dirty="0" err="1"/>
              <a:t>the</a:t>
            </a:r>
            <a:r>
              <a:rPr lang="es-CL" sz="1600" kern="0" dirty="0"/>
              <a:t> </a:t>
            </a:r>
            <a:r>
              <a:rPr lang="es-CL" sz="1600" kern="0" dirty="0" err="1"/>
              <a:t>following</a:t>
            </a:r>
            <a:r>
              <a:rPr lang="es-CL" sz="1600" kern="0" dirty="0"/>
              <a:t> </a:t>
            </a:r>
            <a:r>
              <a:rPr lang="es-CL" sz="1600" kern="0" dirty="0" err="1"/>
              <a:t>three</a:t>
            </a:r>
            <a:r>
              <a:rPr lang="es-CL" sz="1600" kern="0" dirty="0"/>
              <a:t> </a:t>
            </a:r>
            <a:r>
              <a:rPr lang="es-CL" sz="1600" kern="0" dirty="0" err="1"/>
              <a:t>clusters</a:t>
            </a:r>
            <a:endParaRPr lang="en-US" sz="1400" kern="0" dirty="0"/>
          </a:p>
          <a:p>
            <a:pPr algn="just"/>
            <a:endParaRPr lang="en-US" sz="1400" kern="0" dirty="0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D95F3A6F-4BE0-4B59-9B81-DEE7DB40D4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67847" y="2429964"/>
            <a:ext cx="5644423" cy="3696045"/>
          </a:xfrm>
          <a:prstGeom prst="rect">
            <a:avLst/>
          </a:prstGeom>
        </p:spPr>
      </p:pic>
      <p:sp>
        <p:nvSpPr>
          <p:cNvPr id="10" name="Rectángulo: esquinas redondeadas 4">
            <a:extLst>
              <a:ext uri="{FF2B5EF4-FFF2-40B4-BE49-F238E27FC236}">
                <a16:creationId xmlns:a16="http://schemas.microsoft.com/office/drawing/2014/main" id="{AD66BA95-3EA5-4B6B-B519-0F598CA9AAF2}"/>
              </a:ext>
            </a:extLst>
          </p:cNvPr>
          <p:cNvSpPr/>
          <p:nvPr/>
        </p:nvSpPr>
        <p:spPr bwMode="auto">
          <a:xfrm>
            <a:off x="1656769" y="1515395"/>
            <a:ext cx="5173026" cy="77193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600" kern="0" dirty="0" err="1"/>
              <a:t>Now</a:t>
            </a:r>
            <a:r>
              <a:rPr lang="es-CL" sz="1600" kern="0" dirty="0"/>
              <a:t>, for </a:t>
            </a:r>
            <a:r>
              <a:rPr lang="es-CL" sz="1600" kern="0" dirty="0" err="1"/>
              <a:t>the</a:t>
            </a:r>
            <a:r>
              <a:rPr lang="es-CL" sz="1600" kern="0" dirty="0"/>
              <a:t> </a:t>
            </a:r>
            <a:r>
              <a:rPr lang="es-CL" sz="1600" kern="0" dirty="0" err="1"/>
              <a:t>same</a:t>
            </a:r>
            <a:r>
              <a:rPr lang="es-CL" sz="1600" kern="0" dirty="0"/>
              <a:t> case, </a:t>
            </a:r>
            <a:r>
              <a:rPr lang="es-CL" sz="1600" kern="0" dirty="0" err="1"/>
              <a:t>we</a:t>
            </a:r>
            <a:r>
              <a:rPr lang="es-CL" sz="1600" kern="0" dirty="0"/>
              <a:t> </a:t>
            </a:r>
            <a:r>
              <a:rPr lang="es-CL" sz="1600" kern="0" dirty="0" err="1"/>
              <a:t>will</a:t>
            </a:r>
            <a:r>
              <a:rPr lang="es-CL" sz="1600" kern="0" dirty="0"/>
              <a:t> </a:t>
            </a:r>
            <a:r>
              <a:rPr lang="es-CL" sz="1600" kern="0" dirty="0" err="1"/>
              <a:t>start</a:t>
            </a:r>
            <a:r>
              <a:rPr lang="es-CL" sz="1600" kern="0" dirty="0"/>
              <a:t> </a:t>
            </a:r>
            <a:r>
              <a:rPr lang="es-CL" sz="1600" kern="0" dirty="0" err="1"/>
              <a:t>from</a:t>
            </a:r>
            <a:r>
              <a:rPr lang="es-CL" sz="1600" kern="0" dirty="0"/>
              <a:t> 0, </a:t>
            </a:r>
            <a:r>
              <a:rPr lang="es-CL" sz="1600" kern="0" dirty="0" err="1"/>
              <a:t>but</a:t>
            </a:r>
            <a:r>
              <a:rPr lang="es-CL" sz="1600" kern="0" dirty="0"/>
              <a:t> </a:t>
            </a:r>
            <a:r>
              <a:rPr lang="es-CL" sz="1600" kern="0" dirty="0" err="1"/>
              <a:t>selecting</a:t>
            </a:r>
            <a:r>
              <a:rPr lang="es-CL" sz="1600" kern="0" dirty="0"/>
              <a:t> </a:t>
            </a:r>
            <a:r>
              <a:rPr lang="es-CL" sz="1600" kern="0" dirty="0" err="1"/>
              <a:t>bad</a:t>
            </a:r>
            <a:r>
              <a:rPr lang="es-CL" sz="1600" kern="0" dirty="0"/>
              <a:t> </a:t>
            </a:r>
            <a:r>
              <a:rPr lang="es-CL" sz="1600" kern="0" dirty="0" err="1"/>
              <a:t>random</a:t>
            </a:r>
            <a:r>
              <a:rPr lang="es-CL" sz="1600" kern="0" dirty="0"/>
              <a:t> </a:t>
            </a:r>
            <a:r>
              <a:rPr lang="es-CL" sz="1600" kern="0" dirty="0" err="1"/>
              <a:t>initial</a:t>
            </a:r>
            <a:r>
              <a:rPr lang="es-CL" sz="1600" kern="0" dirty="0"/>
              <a:t> </a:t>
            </a:r>
            <a:r>
              <a:rPr lang="es-CL" sz="1600" kern="0" dirty="0" err="1"/>
              <a:t>centroids</a:t>
            </a:r>
            <a:endParaRPr lang="en-US" sz="1400" kern="0" dirty="0"/>
          </a:p>
          <a:p>
            <a:pPr algn="just"/>
            <a:endParaRPr lang="en-US" sz="1400" kern="0" dirty="0"/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9DCF72C5-9E3D-40A2-B755-1D906D4ADBC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9992" y="2630955"/>
            <a:ext cx="8020131" cy="3294062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E432644F-D1E3-4A75-9056-A60EA73D5A8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7085" y="2476233"/>
            <a:ext cx="8589829" cy="3542049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3A62BF6D-DCDE-4091-AACC-381BF6C8CF2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3775" y="2386328"/>
            <a:ext cx="8796448" cy="3623770"/>
          </a:xfrm>
          <a:prstGeom prst="rect">
            <a:avLst/>
          </a:prstGeom>
        </p:spPr>
      </p:pic>
      <p:pic>
        <p:nvPicPr>
          <p:cNvPr id="13" name="Imagen 12">
            <a:extLst>
              <a:ext uri="{FF2B5EF4-FFF2-40B4-BE49-F238E27FC236}">
                <a16:creationId xmlns:a16="http://schemas.microsoft.com/office/drawing/2014/main" id="{850FE38D-E84E-4051-8235-79C6FA2F720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3775" y="2435582"/>
            <a:ext cx="8459744" cy="3623349"/>
          </a:xfrm>
          <a:prstGeom prst="rect">
            <a:avLst/>
          </a:prstGeom>
        </p:spPr>
      </p:pic>
      <p:pic>
        <p:nvPicPr>
          <p:cNvPr id="14" name="Imagen 13">
            <a:extLst>
              <a:ext uri="{FF2B5EF4-FFF2-40B4-BE49-F238E27FC236}">
                <a16:creationId xmlns:a16="http://schemas.microsoft.com/office/drawing/2014/main" id="{00B0ED8E-D6A5-405F-A10A-AAF534187ED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10481" y="2386328"/>
            <a:ext cx="7703979" cy="3924758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8C004C54-C901-4015-BE1A-18E250862CC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46336" y="1328273"/>
            <a:ext cx="8415175" cy="4728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739063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0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BC707768-50B6-4A47-9131-C0250561A1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8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C781EAA5-393B-495D-92FE-9CACE70FB5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5F3BF07-FB58-4934-A9F6-5934826722AE}"/>
              </a:ext>
            </a:extLst>
          </p:cNvPr>
          <p:cNvSpPr txBox="1">
            <a:spLocks/>
          </p:cNvSpPr>
          <p:nvPr/>
        </p:nvSpPr>
        <p:spPr>
          <a:xfrm>
            <a:off x="517360" y="519750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Selecting</a:t>
            </a:r>
            <a:r>
              <a:rPr lang="es-CL" kern="0" dirty="0">
                <a:solidFill>
                  <a:srgbClr val="EE2653"/>
                </a:solidFill>
                <a:latin typeface="Arial" panose="020B0604020202020204"/>
              </a:rPr>
              <a:t> </a:t>
            </a: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the</a:t>
            </a:r>
            <a:r>
              <a:rPr lang="es-CL" kern="0" dirty="0">
                <a:solidFill>
                  <a:srgbClr val="EE2653"/>
                </a:solidFill>
                <a:latin typeface="Arial" panose="020B0604020202020204"/>
              </a:rPr>
              <a:t> </a:t>
            </a: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number</a:t>
            </a:r>
            <a:r>
              <a:rPr lang="es-CL" kern="0" dirty="0">
                <a:solidFill>
                  <a:srgbClr val="EE2653"/>
                </a:solidFill>
                <a:latin typeface="Arial" panose="020B0604020202020204"/>
              </a:rPr>
              <a:t> </a:t>
            </a: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of</a:t>
            </a:r>
            <a:r>
              <a:rPr lang="es-CL" kern="0" dirty="0">
                <a:solidFill>
                  <a:srgbClr val="EE2653"/>
                </a:solidFill>
                <a:latin typeface="Arial" panose="020B0604020202020204"/>
              </a:rPr>
              <a:t> </a:t>
            </a: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clusters</a:t>
            </a:r>
            <a:r>
              <a:rPr lang="es-CL" kern="0" dirty="0">
                <a:solidFill>
                  <a:srgbClr val="EE2653"/>
                </a:solidFill>
                <a:latin typeface="Arial" panose="020B0604020202020204"/>
              </a:rPr>
              <a:t> in K-</a:t>
            </a: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Means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B6504BAD-96C9-4249-AD31-E56743F1A7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7360" y="2995806"/>
            <a:ext cx="7620000" cy="1234196"/>
          </a:xfrm>
          <a:prstGeom prst="rect">
            <a:avLst/>
          </a:prstGeom>
        </p:spPr>
      </p:pic>
      <p:sp>
        <p:nvSpPr>
          <p:cNvPr id="8" name="Rectángulo: esquinas redondeadas 4">
            <a:extLst>
              <a:ext uri="{FF2B5EF4-FFF2-40B4-BE49-F238E27FC236}">
                <a16:creationId xmlns:a16="http://schemas.microsoft.com/office/drawing/2014/main" id="{F0B0617D-A237-444E-8FCC-3FEBA32910B3}"/>
              </a:ext>
            </a:extLst>
          </p:cNvPr>
          <p:cNvSpPr/>
          <p:nvPr/>
        </p:nvSpPr>
        <p:spPr bwMode="auto">
          <a:xfrm>
            <a:off x="544880" y="1899937"/>
            <a:ext cx="6800950" cy="60147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400" kern="0" dirty="0"/>
              <a:t>For </a:t>
            </a:r>
            <a:r>
              <a:rPr lang="es-CL" sz="1400" kern="0" dirty="0" err="1"/>
              <a:t>the</a:t>
            </a:r>
            <a:r>
              <a:rPr lang="es-CL" sz="1400" kern="0" dirty="0"/>
              <a:t> </a:t>
            </a:r>
            <a:r>
              <a:rPr lang="es-CL" sz="1400" kern="0" dirty="0" err="1"/>
              <a:t>previous</a:t>
            </a:r>
            <a:r>
              <a:rPr lang="es-CL" sz="1400" kern="0" dirty="0"/>
              <a:t> </a:t>
            </a:r>
            <a:r>
              <a:rPr lang="es-CL" sz="1400" kern="0" dirty="0" err="1"/>
              <a:t>example</a:t>
            </a:r>
            <a:r>
              <a:rPr lang="es-CL" sz="1400" kern="0" dirty="0"/>
              <a:t> </a:t>
            </a:r>
            <a:r>
              <a:rPr lang="es-CL" sz="1400" kern="0" dirty="0" err="1"/>
              <a:t>we</a:t>
            </a:r>
            <a:r>
              <a:rPr lang="es-CL" sz="1400" kern="0" dirty="0"/>
              <a:t> </a:t>
            </a:r>
            <a:r>
              <a:rPr lang="es-CL" sz="1400" kern="0" dirty="0" err="1"/>
              <a:t>had</a:t>
            </a:r>
            <a:r>
              <a:rPr lang="es-CL" sz="1400" kern="0" dirty="0"/>
              <a:t> </a:t>
            </a:r>
            <a:r>
              <a:rPr lang="es-CL" sz="1400" kern="0" dirty="0" err="1"/>
              <a:t>something</a:t>
            </a:r>
            <a:r>
              <a:rPr lang="es-CL" sz="1400" kern="0" dirty="0"/>
              <a:t> </a:t>
            </a:r>
            <a:r>
              <a:rPr lang="es-CL" sz="1400" kern="0" dirty="0" err="1"/>
              <a:t>that</a:t>
            </a:r>
            <a:r>
              <a:rPr lang="es-CL" sz="1400" kern="0" dirty="0"/>
              <a:t> </a:t>
            </a:r>
            <a:r>
              <a:rPr lang="es-CL" sz="1400" kern="0" dirty="0" err="1"/>
              <a:t>could</a:t>
            </a:r>
            <a:r>
              <a:rPr lang="es-CL" sz="1400" kern="0" dirty="0"/>
              <a:t> be </a:t>
            </a:r>
            <a:r>
              <a:rPr lang="es-CL" sz="1400" kern="0" dirty="0" err="1"/>
              <a:t>defined</a:t>
            </a:r>
            <a:r>
              <a:rPr lang="es-CL" sz="1400" kern="0" dirty="0"/>
              <a:t> as </a:t>
            </a:r>
            <a:r>
              <a:rPr lang="es-CL" sz="1400" kern="0" dirty="0" err="1"/>
              <a:t>follows</a:t>
            </a:r>
            <a:r>
              <a:rPr lang="es-CL" sz="1400" kern="0" dirty="0"/>
              <a:t>:</a:t>
            </a:r>
            <a:endParaRPr lang="en-US" sz="1400" kern="0" dirty="0"/>
          </a:p>
        </p:txBody>
      </p:sp>
      <p:sp>
        <p:nvSpPr>
          <p:cNvPr id="9" name="Rectángulo: esquinas redondeadas 4">
            <a:extLst>
              <a:ext uri="{FF2B5EF4-FFF2-40B4-BE49-F238E27FC236}">
                <a16:creationId xmlns:a16="http://schemas.microsoft.com/office/drawing/2014/main" id="{39A8B726-B9B9-4FC5-8905-401666AF658D}"/>
              </a:ext>
            </a:extLst>
          </p:cNvPr>
          <p:cNvSpPr/>
          <p:nvPr/>
        </p:nvSpPr>
        <p:spPr bwMode="auto">
          <a:xfrm>
            <a:off x="517360" y="4724399"/>
            <a:ext cx="3542249" cy="83680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400" kern="0" dirty="0"/>
              <a:t>WCSS: </a:t>
            </a:r>
            <a:r>
              <a:rPr lang="es-CL" sz="1400" kern="0" dirty="0" err="1"/>
              <a:t>Within</a:t>
            </a:r>
            <a:r>
              <a:rPr lang="es-CL" sz="1400" kern="0" dirty="0"/>
              <a:t> </a:t>
            </a:r>
            <a:r>
              <a:rPr lang="es-CL" sz="1400" kern="0" dirty="0" err="1"/>
              <a:t>Cluster</a:t>
            </a:r>
            <a:r>
              <a:rPr lang="es-CL" sz="1400" kern="0" dirty="0"/>
              <a:t> Sum </a:t>
            </a:r>
            <a:r>
              <a:rPr lang="es-CL" sz="1400" kern="0" dirty="0" err="1"/>
              <a:t>of</a:t>
            </a:r>
            <a:r>
              <a:rPr lang="es-CL" sz="1400" kern="0" dirty="0"/>
              <a:t> </a:t>
            </a:r>
            <a:r>
              <a:rPr lang="es-CL" sz="1400" kern="0" dirty="0" err="1"/>
              <a:t>Squares</a:t>
            </a:r>
            <a:endParaRPr lang="es-CL" sz="1400" kern="0" dirty="0"/>
          </a:p>
          <a:p>
            <a:pPr algn="just"/>
            <a:r>
              <a:rPr lang="es-CL" sz="1400" kern="0" dirty="0"/>
              <a:t>P: Point</a:t>
            </a:r>
          </a:p>
          <a:p>
            <a:pPr algn="just"/>
            <a:r>
              <a:rPr lang="es-CL" sz="1400" kern="0" dirty="0"/>
              <a:t>C: </a:t>
            </a:r>
            <a:r>
              <a:rPr lang="es-CL" sz="1400" kern="0" dirty="0" err="1"/>
              <a:t>Cluster</a:t>
            </a:r>
            <a:endParaRPr lang="en-US" sz="1400" kern="0" dirty="0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0E7789B1-E59D-4D4A-84E8-F5A808F1D6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000" y="1287775"/>
            <a:ext cx="8245639" cy="4978536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8EAEBBD2-94ED-42A9-8A7E-5580C798CE5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5662" y="1342103"/>
            <a:ext cx="8411510" cy="4924208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C859C2FF-7730-4570-AE7C-E12875C5BD7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0744" y="1447800"/>
            <a:ext cx="8626150" cy="4724400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39DFF526-2AEA-403F-9F1F-E74F0A713E1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4422" y="1237134"/>
            <a:ext cx="8522471" cy="4935066"/>
          </a:xfrm>
          <a:prstGeom prst="rect">
            <a:avLst/>
          </a:prstGeom>
        </p:spPr>
      </p:pic>
      <p:sp>
        <p:nvSpPr>
          <p:cNvPr id="15" name="Rectángulo: esquinas redondeadas 4">
            <a:extLst>
              <a:ext uri="{FF2B5EF4-FFF2-40B4-BE49-F238E27FC236}">
                <a16:creationId xmlns:a16="http://schemas.microsoft.com/office/drawing/2014/main" id="{3EB4E0CF-9458-4F06-9E29-216709BEFF41}"/>
              </a:ext>
            </a:extLst>
          </p:cNvPr>
          <p:cNvSpPr/>
          <p:nvPr/>
        </p:nvSpPr>
        <p:spPr bwMode="auto">
          <a:xfrm>
            <a:off x="3505200" y="3103195"/>
            <a:ext cx="2924938" cy="60147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Solution: The Elbow Method</a:t>
            </a:r>
          </a:p>
          <a:p>
            <a:pPr algn="just"/>
            <a:endParaRPr lang="en-US" sz="1400" kern="0" dirty="0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53D0D37F-C5A0-4BD9-815D-925F10718AB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7105" y="1229271"/>
            <a:ext cx="7931538" cy="5055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964689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5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9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55575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35764" y="589797"/>
            <a:ext cx="8072469" cy="504174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K-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Means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in Python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F0DDD6D1-5B8E-44F5-B866-3A78D9336E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6723" y="1611366"/>
            <a:ext cx="4105275" cy="1962150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BCD28521-B761-4AF9-8BFA-4A5E1F45EC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59639" y="1341438"/>
            <a:ext cx="4328786" cy="2514600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8A550EDB-282E-43DF-9361-FA7ED101D73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6723" y="3904564"/>
            <a:ext cx="6848475" cy="2371725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BE5D3384-1340-4A74-92CA-687980EEED7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03721" y="2090335"/>
            <a:ext cx="5220889" cy="3531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9221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valueserve Common Layout">
  <a:themeElements>
    <a:clrScheme name="Evalueserve New Theme">
      <a:dk1>
        <a:srgbClr val="000000"/>
      </a:dk1>
      <a:lt1>
        <a:srgbClr val="FFFFFF"/>
      </a:lt1>
      <a:dk2>
        <a:srgbClr val="EE2653"/>
      </a:dk2>
      <a:lt2>
        <a:srgbClr val="939598"/>
      </a:lt2>
      <a:accent1>
        <a:srgbClr val="9D2C7D"/>
      </a:accent1>
      <a:accent2>
        <a:srgbClr val="7C6CAA"/>
      </a:accent2>
      <a:accent3>
        <a:srgbClr val="5AB7E8"/>
      </a:accent3>
      <a:accent4>
        <a:srgbClr val="F38AB1"/>
      </a:accent4>
      <a:accent5>
        <a:srgbClr val="AFA2BF"/>
      </a:accent5>
      <a:accent6>
        <a:srgbClr val="B2D9F4"/>
      </a:accent6>
      <a:hlink>
        <a:srgbClr val="315EA5"/>
      </a:hlink>
      <a:folHlink>
        <a:srgbClr val="47254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3250"/>
        </a:solidFill>
        <a:ln w="9525">
          <a:noFill/>
          <a:miter lim="800000"/>
          <a:headEnd/>
          <a:tailEnd/>
        </a:ln>
        <a:effectLst/>
      </a:spPr>
      <a:bodyPr lIns="108000" tIns="108000" rIns="108000" bIns="108000" rtlCol="0" anchor="ctr">
        <a:noAutofit/>
      </a:bodyPr>
      <a:lstStyle>
        <a:defPPr algn="l">
          <a:defRPr smtClean="0">
            <a:latin typeface="Verdana" pitchFamily="34" charset="0"/>
            <a:ea typeface="Verdana" pitchFamily="34" charset="0"/>
            <a:cs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 algn="l">
          <a:defRPr sz="1200" dirty="0" smtClean="0">
            <a:latin typeface="+mj-lt"/>
          </a:defRPr>
        </a:defPPr>
      </a:lstStyle>
    </a:tx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315EA5"/>
    </a:custClr>
    <a:custClr name="Custom Color 2">
      <a:srgbClr val="47254B"/>
    </a:custClr>
    <a:custClr name="Custom Color 3">
      <a:srgbClr val="4E7FB3"/>
    </a:custClr>
    <a:custClr name="Custom Color 4">
      <a:srgbClr val="AF2349"/>
    </a:custClr>
    <a:custClr name="Custom Color 5">
      <a:srgbClr val="840037"/>
    </a:custClr>
    <a:custClr name="Custom Color 6">
      <a:srgbClr val="AF5E90"/>
    </a:custClr>
    <a:custClr name="Custom Color 7">
      <a:srgbClr val="839EC9"/>
    </a:custClr>
    <a:custClr name="Custom Color 8">
      <a:srgbClr val="BEBFC1"/>
    </a:custClr>
    <a:custClr name="Custom Color 9">
      <a:srgbClr val="917C93"/>
    </a:custClr>
  </a:custClrLst>
  <a:extLst>
    <a:ext uri="{05A4C25C-085E-4340-85A3-A5531E510DB2}">
      <thm15:themeFamily xmlns:thm15="http://schemas.microsoft.com/office/thememl/2012/main" name="Evalueserve_Sections_Template_28, April 2015.potx" id="{39CB17F5-79C8-4044-9C90-9DD742FB7165}" vid="{16D2F853-B6A7-41A7-A66D-EDC45D59D9A1}"/>
    </a:ext>
  </a:extLst>
</a:theme>
</file>

<file path=ppt/theme/theme2.xml><?xml version="1.0" encoding="utf-8"?>
<a:theme xmlns:a="http://schemas.openxmlformats.org/drawingml/2006/main" name="Evalueserve Pink Theme">
  <a:themeElements>
    <a:clrScheme name="Custom Colors - Evalueserve">
      <a:dk1>
        <a:sysClr val="windowText" lastClr="000000"/>
      </a:dk1>
      <a:lt1>
        <a:srgbClr val="FFFFFF"/>
      </a:lt1>
      <a:dk2>
        <a:srgbClr val="EE2653"/>
      </a:dk2>
      <a:lt2>
        <a:srgbClr val="939598"/>
      </a:lt2>
      <a:accent1>
        <a:srgbClr val="9D2C7D"/>
      </a:accent1>
      <a:accent2>
        <a:srgbClr val="7C6CAA"/>
      </a:accent2>
      <a:accent3>
        <a:srgbClr val="5AB7E8"/>
      </a:accent3>
      <a:accent4>
        <a:srgbClr val="F38AB1"/>
      </a:accent4>
      <a:accent5>
        <a:srgbClr val="AFA2BF"/>
      </a:accent5>
      <a:accent6>
        <a:srgbClr val="B2D9F4"/>
      </a:accent6>
      <a:hlink>
        <a:srgbClr val="315EA5"/>
      </a:hlink>
      <a:folHlink>
        <a:srgbClr val="47254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3250"/>
        </a:solidFill>
        <a:ln w="9525">
          <a:noFill/>
          <a:miter lim="800000"/>
          <a:headEnd/>
          <a:tailEnd/>
        </a:ln>
        <a:effectLst/>
      </a:spPr>
      <a:bodyPr lIns="108000" tIns="108000" rIns="108000" bIns="108000" rtlCol="0" anchor="ctr">
        <a:noAutofit/>
      </a:bodyPr>
      <a:lstStyle>
        <a:defPPr algn="l">
          <a:defRPr smtClean="0">
            <a:latin typeface="Verdana" pitchFamily="34" charset="0"/>
            <a:ea typeface="Verdana" pitchFamily="34" charset="0"/>
            <a:cs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 algn="l">
          <a:defRPr sz="1200" dirty="0" smtClean="0">
            <a:latin typeface="+mj-lt"/>
          </a:defRPr>
        </a:defPPr>
      </a:lstStyle>
    </a:tx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315EA5"/>
    </a:custClr>
    <a:custClr name="Custom Color 2">
      <a:srgbClr val="47254B"/>
    </a:custClr>
    <a:custClr name="Custom Color 3">
      <a:srgbClr val="4E7FB3"/>
    </a:custClr>
    <a:custClr name="Custom Color 4">
      <a:srgbClr val="AF2349"/>
    </a:custClr>
    <a:custClr name="Custom Color 5">
      <a:srgbClr val="840037"/>
    </a:custClr>
    <a:custClr name="Custom Color 6">
      <a:srgbClr val="AF5E90"/>
    </a:custClr>
    <a:custClr name="Custom Color 7">
      <a:srgbClr val="839EC9"/>
    </a:custClr>
    <a:custClr name="Custom Color 8">
      <a:srgbClr val="BEBFC1"/>
    </a:custClr>
    <a:custClr name="Custom Color 9">
      <a:srgbClr val="917C93"/>
    </a:custClr>
  </a:custClrLst>
  <a:extLst>
    <a:ext uri="{05A4C25C-085E-4340-85A3-A5531E510DB2}">
      <thm15:themeFamily xmlns:thm15="http://schemas.microsoft.com/office/thememl/2012/main" name="Evalueserve_Sections_Template_28, April 2015.potx" id="{39CB17F5-79C8-4044-9C90-9DD742FB7165}" vid="{95F03569-6932-431F-A78E-9F755726E304}"/>
    </a:ext>
  </a:extLst>
</a:theme>
</file>

<file path=ppt/theme/theme3.xml><?xml version="1.0" encoding="utf-8"?>
<a:theme xmlns:a="http://schemas.openxmlformats.org/drawingml/2006/main" name="Evalueserve Purple Theme">
  <a:themeElements>
    <a:clrScheme name="Custom Colors - Evalueserve">
      <a:dk1>
        <a:sysClr val="windowText" lastClr="000000"/>
      </a:dk1>
      <a:lt1>
        <a:srgbClr val="FFFFFF"/>
      </a:lt1>
      <a:dk2>
        <a:srgbClr val="EE2653"/>
      </a:dk2>
      <a:lt2>
        <a:srgbClr val="939598"/>
      </a:lt2>
      <a:accent1>
        <a:srgbClr val="9D2C7D"/>
      </a:accent1>
      <a:accent2>
        <a:srgbClr val="7C6CAA"/>
      </a:accent2>
      <a:accent3>
        <a:srgbClr val="5AB7E8"/>
      </a:accent3>
      <a:accent4>
        <a:srgbClr val="F38AB1"/>
      </a:accent4>
      <a:accent5>
        <a:srgbClr val="AFA2BF"/>
      </a:accent5>
      <a:accent6>
        <a:srgbClr val="B2D9F4"/>
      </a:accent6>
      <a:hlink>
        <a:srgbClr val="315EA5"/>
      </a:hlink>
      <a:folHlink>
        <a:srgbClr val="47254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3250"/>
        </a:solidFill>
        <a:ln w="9525">
          <a:noFill/>
          <a:miter lim="800000"/>
          <a:headEnd/>
          <a:tailEnd/>
        </a:ln>
        <a:effectLst/>
      </a:spPr>
      <a:bodyPr lIns="108000" tIns="108000" rIns="108000" bIns="108000" rtlCol="0" anchor="ctr">
        <a:noAutofit/>
      </a:bodyPr>
      <a:lstStyle>
        <a:defPPr algn="l">
          <a:defRPr smtClean="0">
            <a:latin typeface="Verdana" pitchFamily="34" charset="0"/>
            <a:ea typeface="Verdana" pitchFamily="34" charset="0"/>
            <a:cs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 algn="l">
          <a:defRPr sz="1200" dirty="0" smtClean="0">
            <a:latin typeface="+mj-lt"/>
          </a:defRPr>
        </a:defPPr>
      </a:lstStyle>
    </a:tx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315EA5"/>
    </a:custClr>
    <a:custClr name="Custom Color 2">
      <a:srgbClr val="47254B"/>
    </a:custClr>
    <a:custClr name="Custom Color 3">
      <a:srgbClr val="4E7FB3"/>
    </a:custClr>
    <a:custClr name="Custom Color 4">
      <a:srgbClr val="AF2349"/>
    </a:custClr>
    <a:custClr name="Custom Color 5">
      <a:srgbClr val="840037"/>
    </a:custClr>
    <a:custClr name="Custom Color 6">
      <a:srgbClr val="AF5E90"/>
    </a:custClr>
    <a:custClr name="Custom Color 7">
      <a:srgbClr val="839EC9"/>
    </a:custClr>
    <a:custClr name="Custom Color 8">
      <a:srgbClr val="BEBFC1"/>
    </a:custClr>
    <a:custClr name="Custom Color 9">
      <a:srgbClr val="917C93"/>
    </a:custClr>
  </a:custClrLst>
  <a:extLst>
    <a:ext uri="{05A4C25C-085E-4340-85A3-A5531E510DB2}">
      <thm15:themeFamily xmlns:thm15="http://schemas.microsoft.com/office/thememl/2012/main" name="Evalueserve_Sections_Template_28, April 2015.potx" id="{39CB17F5-79C8-4044-9C90-9DD742FB7165}" vid="{8915B2CC-3F9C-4D74-AAC3-2B584A303086}"/>
    </a:ext>
  </a:extLst>
</a:theme>
</file>

<file path=ppt/theme/theme4.xml><?xml version="1.0" encoding="utf-8"?>
<a:theme xmlns:a="http://schemas.openxmlformats.org/drawingml/2006/main" name="Evalueserve Dark Purple Theme">
  <a:themeElements>
    <a:clrScheme name="Custom Colors - Evalueserve">
      <a:dk1>
        <a:sysClr val="windowText" lastClr="000000"/>
      </a:dk1>
      <a:lt1>
        <a:srgbClr val="FFFFFF"/>
      </a:lt1>
      <a:dk2>
        <a:srgbClr val="EE2653"/>
      </a:dk2>
      <a:lt2>
        <a:srgbClr val="939598"/>
      </a:lt2>
      <a:accent1>
        <a:srgbClr val="9D2C7D"/>
      </a:accent1>
      <a:accent2>
        <a:srgbClr val="7C6CAA"/>
      </a:accent2>
      <a:accent3>
        <a:srgbClr val="5AB7E8"/>
      </a:accent3>
      <a:accent4>
        <a:srgbClr val="F38AB1"/>
      </a:accent4>
      <a:accent5>
        <a:srgbClr val="AFA2BF"/>
      </a:accent5>
      <a:accent6>
        <a:srgbClr val="B2D9F4"/>
      </a:accent6>
      <a:hlink>
        <a:srgbClr val="315EA5"/>
      </a:hlink>
      <a:folHlink>
        <a:srgbClr val="47254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3250"/>
        </a:solidFill>
        <a:ln w="9525">
          <a:noFill/>
          <a:miter lim="800000"/>
          <a:headEnd/>
          <a:tailEnd/>
        </a:ln>
        <a:effectLst/>
      </a:spPr>
      <a:bodyPr lIns="108000" tIns="108000" rIns="108000" bIns="108000" rtlCol="0" anchor="ctr">
        <a:noAutofit/>
      </a:bodyPr>
      <a:lstStyle>
        <a:defPPr algn="l">
          <a:defRPr smtClean="0">
            <a:latin typeface="Verdana" pitchFamily="34" charset="0"/>
            <a:ea typeface="Verdana" pitchFamily="34" charset="0"/>
            <a:cs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 algn="l">
          <a:defRPr sz="1200" dirty="0" smtClean="0">
            <a:latin typeface="+mj-lt"/>
          </a:defRPr>
        </a:defPPr>
      </a:lstStyle>
    </a:tx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315EA5"/>
    </a:custClr>
    <a:custClr name="Custom Color 2">
      <a:srgbClr val="47254B"/>
    </a:custClr>
    <a:custClr name="Custom Color 3">
      <a:srgbClr val="4E7FB3"/>
    </a:custClr>
    <a:custClr name="Custom Color 4">
      <a:srgbClr val="AF2349"/>
    </a:custClr>
    <a:custClr name="Custom Color 5">
      <a:srgbClr val="840037"/>
    </a:custClr>
    <a:custClr name="Custom Color 6">
      <a:srgbClr val="AF5E90"/>
    </a:custClr>
    <a:custClr name="Custom Color 7">
      <a:srgbClr val="839EC9"/>
    </a:custClr>
    <a:custClr name="Custom Color 8">
      <a:srgbClr val="BEBFC1"/>
    </a:custClr>
    <a:custClr name="Custom Color 9">
      <a:srgbClr val="917C93"/>
    </a:custClr>
  </a:custClrLst>
  <a:extLst>
    <a:ext uri="{05A4C25C-085E-4340-85A3-A5531E510DB2}">
      <thm15:themeFamily xmlns:thm15="http://schemas.microsoft.com/office/thememl/2012/main" name="Evalueserve_Sections_Template_28, April 2015.potx" id="{39CB17F5-79C8-4044-9C90-9DD742FB7165}" vid="{1EF3E39D-FC65-4436-9B55-05D49828E21E}"/>
    </a:ext>
  </a:extLst>
</a:theme>
</file>

<file path=ppt/theme/theme5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valueserve PowerPoint Template</Template>
  <TotalTime>8968</TotalTime>
  <Words>714</Words>
  <Application>Microsoft Office PowerPoint</Application>
  <PresentationFormat>Presentación en pantalla (4:3)</PresentationFormat>
  <Paragraphs>163</Paragraphs>
  <Slides>24</Slides>
  <Notes>2</Notes>
  <HiddenSlides>0</HiddenSlides>
  <MMClips>0</MMClips>
  <ScaleCrop>false</ScaleCrop>
  <HeadingPairs>
    <vt:vector size="8" baseType="variant">
      <vt:variant>
        <vt:lpstr>Fuentes usadas</vt:lpstr>
      </vt:variant>
      <vt:variant>
        <vt:i4>4</vt:i4>
      </vt:variant>
      <vt:variant>
        <vt:lpstr>Tema</vt:lpstr>
      </vt:variant>
      <vt:variant>
        <vt:i4>4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4</vt:i4>
      </vt:variant>
    </vt:vector>
  </HeadingPairs>
  <TitlesOfParts>
    <vt:vector size="33" baseType="lpstr">
      <vt:lpstr>Arial</vt:lpstr>
      <vt:lpstr>Calibri</vt:lpstr>
      <vt:lpstr>Segoe UI</vt:lpstr>
      <vt:lpstr>Verdana</vt:lpstr>
      <vt:lpstr>Evalueserve Common Layout</vt:lpstr>
      <vt:lpstr>Evalueserve Pink Theme</vt:lpstr>
      <vt:lpstr>Evalueserve Purple Theme</vt:lpstr>
      <vt:lpstr>Evalueserve Dark Purple Theme</vt:lpstr>
      <vt:lpstr>think-cell Slide</vt:lpstr>
      <vt:lpstr>Machine Learning A-Z™: Hands-On Python &amp; R In Data Science</vt:lpstr>
      <vt:lpstr>Contents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Hierarchical Clustering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Toshib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rketing Profitability</dc:title>
  <dc:creator>Erick</dc:creator>
  <cp:lastModifiedBy>Juan Carlos Urrutia Jimenez</cp:lastModifiedBy>
  <cp:revision>239</cp:revision>
  <dcterms:created xsi:type="dcterms:W3CDTF">2015-08-27T23:57:25Z</dcterms:created>
  <dcterms:modified xsi:type="dcterms:W3CDTF">2019-06-28T08:29:57Z</dcterms:modified>
</cp:coreProperties>
</file>